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15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notesSlides/notesSlide16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48" r:id="rId1"/>
    <p:sldMasterId id="2147483661" r:id="rId2"/>
    <p:sldMasterId id="2147483673" r:id="rId3"/>
    <p:sldMasterId id="2147483696" r:id="rId4"/>
  </p:sldMasterIdLst>
  <p:notesMasterIdLst>
    <p:notesMasterId r:id="rId41"/>
  </p:notesMasterIdLst>
  <p:handoutMasterIdLst>
    <p:handoutMasterId r:id="rId42"/>
  </p:handoutMasterIdLst>
  <p:sldIdLst>
    <p:sldId id="375" r:id="rId5"/>
    <p:sldId id="2145706923" r:id="rId6"/>
    <p:sldId id="2145706917" r:id="rId7"/>
    <p:sldId id="2145706919" r:id="rId8"/>
    <p:sldId id="2145706916" r:id="rId9"/>
    <p:sldId id="2145706902" r:id="rId10"/>
    <p:sldId id="2145706900" r:id="rId11"/>
    <p:sldId id="275" r:id="rId12"/>
    <p:sldId id="276" r:id="rId13"/>
    <p:sldId id="277" r:id="rId14"/>
    <p:sldId id="2145706920" r:id="rId15"/>
    <p:sldId id="2145706909" r:id="rId16"/>
    <p:sldId id="2145706890" r:id="rId17"/>
    <p:sldId id="2145706924" r:id="rId18"/>
    <p:sldId id="2145706925" r:id="rId19"/>
    <p:sldId id="2145706926" r:id="rId20"/>
    <p:sldId id="2145706892" r:id="rId21"/>
    <p:sldId id="2145706910" r:id="rId22"/>
    <p:sldId id="2145706893" r:id="rId23"/>
    <p:sldId id="2145706894" r:id="rId24"/>
    <p:sldId id="2145706911" r:id="rId25"/>
    <p:sldId id="2145706936" r:id="rId26"/>
    <p:sldId id="2145706935" r:id="rId27"/>
    <p:sldId id="300" r:id="rId28"/>
    <p:sldId id="2145706921" r:id="rId29"/>
    <p:sldId id="2145706885" r:id="rId30"/>
    <p:sldId id="2145706887" r:id="rId31"/>
    <p:sldId id="2145706891" r:id="rId32"/>
    <p:sldId id="2145706884" r:id="rId33"/>
    <p:sldId id="2145706888" r:id="rId34"/>
    <p:sldId id="2145706906" r:id="rId35"/>
    <p:sldId id="2145706899" r:id="rId36"/>
    <p:sldId id="501" r:id="rId37"/>
    <p:sldId id="2145706913" r:id="rId38"/>
    <p:sldId id="2145706912" r:id="rId39"/>
    <p:sldId id="2145706882" r:id="rId40"/>
  </p:sldIdLst>
  <p:sldSz cx="12192000" cy="6858000"/>
  <p:notesSz cx="7315200" cy="9601200"/>
  <p:embeddedFontLst>
    <p:embeddedFont>
      <p:font typeface="Calibri" panose="020F0502020204030204" pitchFamily="34" charset="0"/>
      <p:regular r:id="rId43"/>
      <p:bold r:id="rId44"/>
      <p:italic r:id="rId45"/>
      <p:boldItalic r:id="rId46"/>
    </p:embeddedFont>
    <p:embeddedFont>
      <p:font typeface="Kh Content" panose="020B0604020202020204" charset="0"/>
      <p:regular r:id="rId47"/>
    </p:embeddedFont>
    <p:embeddedFont>
      <p:font typeface="Segoe UI" panose="020B0502040204020203" pitchFamily="34" charset="0"/>
      <p:regular r:id="rId48"/>
      <p:bold r:id="rId49"/>
      <p:italic r:id="rId50"/>
      <p:boldItalic r:id="rId51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 " initials=" " lastIdx="1" clrIdx="0"/>
  <p:cmAuthor id="1" name="Karen" initials="K" lastIdx="2" clrIdx="1"/>
  <p:cmAuthor id="2" name="Stetler, Katie (DPH)" initials="SK(" lastIdx="4" clrIdx="2"/>
  <p:cmAuthor id="3" name="Wood, Ben (DPH)" initials="WB(" lastIdx="6" clrIdx="3"/>
  <p:cmAuthor id="4" name="Tamar Kaim Doniger" initials="TKD" lastIdx="2" clrIdx="4"/>
  <p:cmAuthor id="5" name="Jonathon Men" initials="JM" lastIdx="2" clrIdx="5">
    <p:extLst>
      <p:ext uri="{19B8F6BF-5375-455C-9EA6-DF929625EA0E}">
        <p15:presenceInfo xmlns:p15="http://schemas.microsoft.com/office/powerpoint/2012/main" userId="f19993c920ec11f5" providerId="Windows Live"/>
      </p:ext>
    </p:extLst>
  </p:cmAuthor>
  <p:cmAuthor id="6" name="SYTH" initials="S" lastIdx="15" clrIdx="6">
    <p:extLst>
      <p:ext uri="{19B8F6BF-5375-455C-9EA6-DF929625EA0E}">
        <p15:presenceInfo xmlns:p15="http://schemas.microsoft.com/office/powerpoint/2012/main" userId="SYTH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376BB"/>
    <a:srgbClr val="0133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226" autoAdjust="0"/>
    <p:restoredTop sz="78520" autoAdjust="0"/>
  </p:normalViewPr>
  <p:slideViewPr>
    <p:cSldViewPr snapToGrid="0" snapToObjects="1">
      <p:cViewPr varScale="1">
        <p:scale>
          <a:sx n="86" d="100"/>
          <a:sy n="86" d="100"/>
        </p:scale>
        <p:origin x="1182" y="9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 snapToGrid="0" snapToObjects="1">
      <p:cViewPr>
        <p:scale>
          <a:sx n="100" d="100"/>
          <a:sy n="100" d="100"/>
        </p:scale>
        <p:origin x="-3408" y="792"/>
      </p:cViewPr>
      <p:guideLst>
        <p:guide orient="horz" pos="2928"/>
        <p:guide pos="2208"/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handoutMaster" Target="handoutMasters/handoutMaster1.xml"/><Relationship Id="rId47" Type="http://schemas.openxmlformats.org/officeDocument/2006/relationships/font" Target="fonts/font5.fntdata"/><Relationship Id="rId50" Type="http://schemas.openxmlformats.org/officeDocument/2006/relationships/font" Target="fonts/font8.fntdata"/><Relationship Id="rId55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font" Target="fonts/font3.fntdata"/><Relationship Id="rId53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font" Target="fonts/font2.fntdata"/><Relationship Id="rId52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font" Target="fonts/font1.fntdata"/><Relationship Id="rId48" Type="http://schemas.openxmlformats.org/officeDocument/2006/relationships/font" Target="fonts/font6.fntdata"/><Relationship Id="rId56" Type="http://schemas.openxmlformats.org/officeDocument/2006/relationships/tableStyles" Target="tableStyles.xml"/><Relationship Id="rId8" Type="http://schemas.openxmlformats.org/officeDocument/2006/relationships/slide" Target="slides/slide4.xml"/><Relationship Id="rId51" Type="http://schemas.openxmlformats.org/officeDocument/2006/relationships/font" Target="fonts/font9.fntdata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font" Target="fonts/font4.fntdata"/><Relationship Id="rId20" Type="http://schemas.openxmlformats.org/officeDocument/2006/relationships/slide" Target="slides/slide16.xml"/><Relationship Id="rId41" Type="http://schemas.openxmlformats.org/officeDocument/2006/relationships/notesMaster" Target="notesMasters/notesMaster1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font" Target="fonts/font7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file:///C:\Users\KStetler\Desktop\COVID%20vaccine%20plan\Community%20engagement\Community%20forum%20guide\Study%20participant%20data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Book1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6">
                  <a:shade val="7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0BC-4AB9-896F-8B8BD161DA00}"/>
              </c:ext>
            </c:extLst>
          </c:dPt>
          <c:dPt>
            <c:idx val="1"/>
            <c:bubble3D val="0"/>
            <c:spPr>
              <a:solidFill>
                <a:schemeClr val="accent6">
                  <a:tint val="7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0BC-4AB9-896F-8B8BD161DA00}"/>
              </c:ext>
            </c:extLst>
          </c:dPt>
          <c:dLbls>
            <c:dLbl>
              <c:idx val="0"/>
              <c:layout>
                <c:manualLayout>
                  <c:x val="-0.18280785516451337"/>
                  <c:y val="-4.194381941352721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8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defRPr>
                    </a:pPr>
                    <a:r>
                      <a:rPr lang="km-KH" sz="1600">
                        <a:latin typeface="Kh Content" panose="02000500000000020004" pitchFamily="2" charset="0"/>
                        <a:cs typeface="Kh Content" panose="02000500000000020004" pitchFamily="2" charset="0"/>
                      </a:rPr>
                      <a:t>បុរស</a:t>
                    </a:r>
                    <a:r>
                      <a:rPr lang="km-KH"/>
                      <a:t>
51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60BC-4AB9-896F-8B8BD161DA00}"/>
                </c:ext>
              </c:extLst>
            </c:dLbl>
            <c:dLbl>
              <c:idx val="1"/>
              <c:layout>
                <c:manualLayout>
                  <c:x val="0.22222832470526824"/>
                  <c:y val="-2.574963601140698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8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defRPr>
                    </a:pPr>
                    <a:r>
                      <a:rPr lang="km-KH" sz="1600">
                        <a:latin typeface="Kh Content" panose="02000500000000020004" pitchFamily="2" charset="0"/>
                        <a:cs typeface="Kh Content" panose="02000500000000020004" pitchFamily="2" charset="0"/>
                      </a:rPr>
                      <a:t>ស្រ្ដី</a:t>
                    </a:r>
                    <a:r>
                      <a:rPr lang="km-KH"/>
                      <a:t>
49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60BC-4AB9-896F-8B8BD161DA0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Pfizer!$A$3:$A$4</c:f>
              <c:strCache>
                <c:ptCount val="2"/>
                <c:pt idx="0">
                  <c:v>ប្រុស</c:v>
                </c:pt>
                <c:pt idx="1">
                  <c:v>ស្រី</c:v>
                </c:pt>
              </c:strCache>
            </c:strRef>
          </c:cat>
          <c:val>
            <c:numRef>
              <c:f>Pfizer!$B$3:$B$4</c:f>
              <c:numCache>
                <c:formatCode>General</c:formatCode>
                <c:ptCount val="2"/>
                <c:pt idx="0">
                  <c:v>50.6</c:v>
                </c:pt>
                <c:pt idx="1">
                  <c:v>49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0BC-4AB9-896F-8B8BD161DA00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5">
                  <a:shade val="7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308-4A99-8389-5EF1A8C8390B}"/>
              </c:ext>
            </c:extLst>
          </c:dPt>
          <c:dPt>
            <c:idx val="1"/>
            <c:bubble3D val="0"/>
            <c:spPr>
              <a:solidFill>
                <a:schemeClr val="accent5">
                  <a:tint val="7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308-4A99-8389-5EF1A8C8390B}"/>
              </c:ext>
            </c:extLst>
          </c:dPt>
          <c:dLbls>
            <c:dLbl>
              <c:idx val="0"/>
              <c:layout>
                <c:manualLayout>
                  <c:x val="-0.27092788243241761"/>
                  <c:y val="-1.491459226203239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8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defRPr>
                    </a:pPr>
                    <a:r>
                      <a:rPr lang="km-KH" sz="1600">
                        <a:latin typeface="Kh Content" panose="02000500000000020004" pitchFamily="2" charset="0"/>
                        <a:cs typeface="Kh Content" panose="02000500000000020004" pitchFamily="2" charset="0"/>
                      </a:rPr>
                      <a:t>បុរស</a:t>
                    </a:r>
                    <a:r>
                      <a:rPr lang="km-KH"/>
                      <a:t>
53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8308-4A99-8389-5EF1A8C8390B}"/>
                </c:ext>
              </c:extLst>
            </c:dLbl>
            <c:dLbl>
              <c:idx val="1"/>
              <c:layout>
                <c:manualLayout>
                  <c:x val="0.2271552905394561"/>
                  <c:y val="1.9349414597691517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8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defRPr>
                    </a:pPr>
                    <a:r>
                      <a:rPr lang="km-KH" sz="1600">
                        <a:latin typeface="Kh Content" panose="02000500000000020004" pitchFamily="2" charset="0"/>
                        <a:cs typeface="Kh Content" panose="02000500000000020004" pitchFamily="2" charset="0"/>
                      </a:rPr>
                      <a:t>ស្រ្ដី</a:t>
                    </a:r>
                    <a:r>
                      <a:rPr lang="km-KH"/>
                      <a:t>
47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505260418397066"/>
                      <c:h val="0.255363491587003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3-8308-4A99-8389-5EF1A8C8390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Moderna!$A$3:$A$4</c:f>
              <c:strCache>
                <c:ptCount val="2"/>
                <c:pt idx="0">
                  <c:v>ប្រុស</c:v>
                </c:pt>
                <c:pt idx="1">
                  <c:v>ស្រី</c:v>
                </c:pt>
              </c:strCache>
            </c:strRef>
          </c:cat>
          <c:val>
            <c:numRef>
              <c:f>Moderna!$B$3:$B$4</c:f>
              <c:numCache>
                <c:formatCode>General</c:formatCode>
                <c:ptCount val="2"/>
                <c:pt idx="0">
                  <c:v>52.7</c:v>
                </c:pt>
                <c:pt idx="1">
                  <c:v>47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308-4A99-8389-5EF1A8C8390B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2">
                  <a:shade val="7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D16-45B3-9300-CC522C5B32A0}"/>
              </c:ext>
            </c:extLst>
          </c:dPt>
          <c:dPt>
            <c:idx val="1"/>
            <c:bubble3D val="0"/>
            <c:spPr>
              <a:solidFill>
                <a:schemeClr val="accent2">
                  <a:tint val="7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D16-45B3-9300-CC522C5B32A0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6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defRPr>
                    </a:pPr>
                    <a:r>
                      <a:rPr lang="km-KH" sz="1400" b="1" baseline="0">
                        <a:latin typeface="Kh Content" panose="02000500000000020004" pitchFamily="2" charset="0"/>
                        <a:cs typeface="Kh Content" panose="02000500000000020004" pitchFamily="2" charset="0"/>
                      </a:rPr>
                      <a:t>បុរស</a:t>
                    </a:r>
                    <a:r>
                      <a:rPr lang="km-KH" sz="1600" b="1" baseline="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 55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en-US"/>
                </a:p>
              </c:txPr>
              <c:dLblPos val="ctr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CD16-45B3-9300-CC522C5B32A0}"/>
                </c:ext>
              </c:extLst>
            </c:dLbl>
            <c:dLbl>
              <c:idx val="1"/>
              <c:layout>
                <c:manualLayout>
                  <c:x val="0.23969322005678315"/>
                  <c:y val="6.75535392687598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defRPr>
                    </a:pPr>
                    <a:r>
                      <a:rPr lang="km-KH">
                        <a:latin typeface="Kh Content" panose="02000500000000020004" pitchFamily="2" charset="0"/>
                        <a:cs typeface="Kh Content" panose="02000500000000020004" pitchFamily="2" charset="0"/>
                      </a:rPr>
                      <a:t>ស្រ្ដី</a:t>
                    </a:r>
                    <a:r>
                      <a:rPr lang="km-KH"/>
                      <a:t>
</a:t>
                    </a:r>
                    <a:r>
                      <a:rPr lang="km-KH" sz="1600"/>
                      <a:t>45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CD16-45B3-9300-CC522C5B32A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J&amp;J'!$A$3:$A$4</c:f>
              <c:strCache>
                <c:ptCount val="2"/>
                <c:pt idx="0">
                  <c:v>Male</c:v>
                </c:pt>
                <c:pt idx="1">
                  <c:v>Female</c:v>
                </c:pt>
              </c:strCache>
            </c:strRef>
          </c:cat>
          <c:val>
            <c:numRef>
              <c:f>'J&amp;J'!$B$3:$B$4</c:f>
              <c:numCache>
                <c:formatCode>General</c:formatCode>
                <c:ptCount val="2"/>
                <c:pt idx="0">
                  <c:v>55</c:v>
                </c:pt>
                <c:pt idx="1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D16-45B3-9300-CC522C5B32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2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3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583" cy="480388"/>
          </a:xfrm>
          <a:prstGeom prst="rect">
            <a:avLst/>
          </a:prstGeom>
        </p:spPr>
        <p:txBody>
          <a:bodyPr vert="horz" lIns="94851" tIns="47425" rIns="94851" bIns="4742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2962" y="0"/>
            <a:ext cx="3170583" cy="480388"/>
          </a:xfrm>
          <a:prstGeom prst="rect">
            <a:avLst/>
          </a:prstGeom>
        </p:spPr>
        <p:txBody>
          <a:bodyPr vert="horz" lIns="94851" tIns="47425" rIns="94851" bIns="47425" rtlCol="0"/>
          <a:lstStyle>
            <a:lvl1pPr algn="r">
              <a:defRPr sz="1200"/>
            </a:lvl1pPr>
          </a:lstStyle>
          <a:p>
            <a:fld id="{F33EE6C5-4F47-4445-8BCE-B8BE9FB65DED}" type="datetimeFigureOut">
              <a:rPr lang="en-US" smtClean="0"/>
              <a:t>1/28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173"/>
            <a:ext cx="3170583" cy="480388"/>
          </a:xfrm>
          <a:prstGeom prst="rect">
            <a:avLst/>
          </a:prstGeom>
        </p:spPr>
        <p:txBody>
          <a:bodyPr vert="horz" lIns="94851" tIns="47425" rIns="94851" bIns="4742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2962" y="9119173"/>
            <a:ext cx="3170583" cy="480388"/>
          </a:xfrm>
          <a:prstGeom prst="rect">
            <a:avLst/>
          </a:prstGeom>
        </p:spPr>
        <p:txBody>
          <a:bodyPr vert="horz" lIns="94851" tIns="47425" rIns="94851" bIns="47425" rtlCol="0" anchor="b"/>
          <a:lstStyle>
            <a:lvl1pPr algn="r">
              <a:defRPr sz="1200"/>
            </a:lvl1pPr>
          </a:lstStyle>
          <a:p>
            <a:fld id="{B8A8D0D6-5496-4D9E-81CA-3E43FBC8EAE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6302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53" tIns="48327" rIns="96653" bIns="4832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53" tIns="48327" rIns="96653" bIns="48327" rtlCol="0"/>
          <a:lstStyle>
            <a:lvl1pPr algn="r">
              <a:defRPr sz="1200"/>
            </a:lvl1pPr>
          </a:lstStyle>
          <a:p>
            <a:fld id="{5A6C4BF5-E566-BD4E-BF84-8EF979555B2D}" type="datetimeFigureOut">
              <a:rPr lang="en-US" smtClean="0"/>
              <a:t>1/28/2022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6653" tIns="48327" rIns="96653" bIns="48327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1726"/>
          </a:xfrm>
          <a:prstGeom prst="rect">
            <a:avLst/>
          </a:prstGeom>
        </p:spPr>
        <p:txBody>
          <a:bodyPr vert="horz" lIns="96653" tIns="48327" rIns="96653" bIns="4832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5"/>
            <a:ext cx="3169920" cy="481726"/>
          </a:xfrm>
          <a:prstGeom prst="rect">
            <a:avLst/>
          </a:prstGeom>
        </p:spPr>
        <p:txBody>
          <a:bodyPr vert="horz" lIns="96653" tIns="48327" rIns="96653" bIns="48327" rtlCol="0" anchor="b"/>
          <a:lstStyle>
            <a:lvl1pPr algn="r">
              <a:defRPr sz="1200"/>
            </a:lvl1pPr>
          </a:lstStyle>
          <a:p>
            <a:fld id="{D34CBBDB-52D0-FE4C-8729-D7393D454E1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Slide Image Placeholder 7"/>
          <p:cNvSpPr>
            <a:spLocks noGrp="1" noRot="1" noChangeAspect="1"/>
          </p:cNvSpPr>
          <p:nvPr>
            <p:ph type="sldImg" idx="2"/>
          </p:nvPr>
        </p:nvSpPr>
        <p:spPr>
          <a:xfrm>
            <a:off x="457200" y="719138"/>
            <a:ext cx="64008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851" tIns="47425" rIns="94851" bIns="47425"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33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da.gov/emergency-preparedness-and-response/mcm-legal-regulatory-and-policy-framework/pfizer-biontech-covid-19-vaccine-frequently-asked-questions" TargetMode="External"/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www.fda.gov/emergency-preparedness-and-response/mcm-legal-regulatory-and-policy-framework/janssen-covid-19-vaccine-frequently-asked-questions" TargetMode="External"/><Relationship Id="rId4" Type="http://schemas.openxmlformats.org/officeDocument/2006/relationships/hyperlink" Target="https://www.fda.gov/emergency-preparedness-and-response/mcm-legal-regulatory-and-policy-framework/moderna-covid-19-vaccine-frequently-asked-questions" TargetMode="Externa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da.gov/media/146304/download" TargetMode="External"/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867"/>
              </a:lnSpc>
            </a:pPr>
            <a:r>
              <a:rPr lang="km-KH" b="1" dirty="0">
                <a:latin typeface="Kh Content" panose="02000500000000020004" pitchFamily="2" charset="0"/>
                <a:cs typeface="Kh Content" panose="02000500000000020004" pitchFamily="2" charset="0"/>
              </a:rPr>
              <a:t>សម្គាល់៖</a:t>
            </a:r>
          </a:p>
          <a:p>
            <a:pPr>
              <a:lnSpc>
                <a:spcPts val="1867"/>
              </a:lnSpc>
            </a:pPr>
            <a:r>
              <a:rPr lang="km-KH" dirty="0">
                <a:latin typeface="Kh Content" panose="02000500000000020004" pitchFamily="2" charset="0"/>
                <a:cs typeface="Kh Content" panose="02000500000000020004" pitchFamily="2" charset="0"/>
              </a:rPr>
              <a:t>	</a:t>
            </a:r>
          </a:p>
          <a:p>
            <a:pPr>
              <a:lnSpc>
                <a:spcPts val="1867"/>
              </a:lnSpc>
            </a:pPr>
            <a:r>
              <a:rPr lang="km-KH" dirty="0">
                <a:latin typeface="Kh Content" panose="02000500000000020004" pitchFamily="2" charset="0"/>
                <a:cs typeface="Kh Content" panose="02000500000000020004" pitchFamily="2" charset="0"/>
              </a:rPr>
              <a:t>បច្ចុប្បន្នភាពសំខាន់ តាំង​ពីកំណែប្រែមុន (កាលបរិច្ឆេទ</a:t>
            </a:r>
            <a:r>
              <a:rPr lang="km-KH" baseline="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en-US" baseline="0" dirty="0">
                <a:latin typeface="Kh Content" panose="02000500000000020004" pitchFamily="2" charset="0"/>
                <a:cs typeface="Kh Content" panose="02000500000000020004" pitchFamily="2" charset="0"/>
              </a:rPr>
              <a:t>1/6</a:t>
            </a:r>
            <a:r>
              <a:rPr lang="km-KH" dirty="0">
                <a:latin typeface="Kh Content" panose="02000500000000020004" pitchFamily="2" charset="0"/>
                <a:cs typeface="Kh Content" panose="02000500000000020004" pitchFamily="2" charset="0"/>
              </a:rPr>
              <a:t>)៖</a:t>
            </a:r>
          </a:p>
          <a:p>
            <a:pPr marL="628650" lvl="1" indent="-171450">
              <a:lnSpc>
                <a:spcPts val="1867"/>
              </a:lnSpc>
              <a:buFont typeface="Arial" panose="020B0604020202020204" pitchFamily="34" charset="0"/>
              <a:buChar char="•"/>
            </a:pPr>
            <a:r>
              <a:rPr lang="km-KH" dirty="0">
                <a:latin typeface="Kh Content" panose="02000500000000020004" pitchFamily="2" charset="0"/>
                <a:cs typeface="Kh Content" panose="02000500000000020004" pitchFamily="2" charset="0"/>
              </a:rPr>
              <a:t>បានធ្វើបច្ចុប្បន្នភាព​ព័ត៌មានអំពី​សិទ្ធិទទួលបានវ៉ាក់សាំង​ដូសជំរុញសម្រាប់អ្នកដែលបានទទួលវ៉ាក់សាំង </a:t>
            </a:r>
            <a:r>
              <a:rPr lang="en-US" dirty="0" err="1">
                <a:latin typeface="Kh Content" panose="02000500000000020004" pitchFamily="2" charset="0"/>
                <a:cs typeface="Kh Content" panose="02000500000000020004" pitchFamily="2" charset="0"/>
              </a:rPr>
              <a:t>Moderna</a:t>
            </a:r>
            <a:r>
              <a:rPr lang="km-KH" dirty="0">
                <a:latin typeface="Kh Content" panose="02000500000000020004" pitchFamily="2" charset="0"/>
                <a:cs typeface="Kh Content" panose="02000500000000020004" pitchFamily="2" charset="0"/>
              </a:rPr>
              <a:t>​</a:t>
            </a:r>
            <a:r>
              <a:rPr lang="km-KH" baseline="0" dirty="0">
                <a:latin typeface="Kh Content" panose="02000500000000020004" pitchFamily="2" charset="0"/>
                <a:cs typeface="Kh Content" panose="02000500000000020004" pitchFamily="2" charset="0"/>
              </a:rPr>
              <a:t> (ស្លាយ​ 2</a:t>
            </a:r>
            <a:r>
              <a:rPr lang="en-US" baseline="0" dirty="0">
                <a:latin typeface="Kh Content" panose="02000500000000020004" pitchFamily="2" charset="0"/>
                <a:cs typeface="Kh Content" panose="02000500000000020004" pitchFamily="2" charset="0"/>
              </a:rPr>
              <a:t>3</a:t>
            </a:r>
            <a:r>
              <a:rPr lang="km-KH" baseline="0" dirty="0">
                <a:latin typeface="Kh Content" panose="02000500000000020004" pitchFamily="2" charset="0"/>
                <a:cs typeface="Kh Content" panose="02000500000000020004" pitchFamily="2" charset="0"/>
              </a:rPr>
              <a:t>)</a:t>
            </a:r>
            <a:endParaRPr lang="km-KH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>
              <a:lnSpc>
                <a:spcPts val="1867"/>
              </a:lnSpc>
            </a:pPr>
            <a:endParaRPr lang="en-US" dirty="0">
              <a:latin typeface="Kh Content" panose="02000500000000020004" pitchFamily="2" charset="0"/>
              <a:cs typeface="Kh Content" panose="02000500000000020004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CBBDB-52D0-FE4C-8729-D7393D454E10}" type="slidenum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1</a:t>
            </a:fld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42541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" name="Google Shape;440;p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57200" y="719138"/>
            <a:ext cx="6400800" cy="3600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41" name="Google Shape;441;p81:notes"/>
          <p:cNvSpPr txBox="1">
            <a:spLocks noGrp="1"/>
          </p:cNvSpPr>
          <p:nvPr>
            <p:ph type="body" idx="1"/>
          </p:nvPr>
        </p:nvSpPr>
        <p:spPr>
          <a:xfrm>
            <a:off x="731520" y="4620577"/>
            <a:ext cx="5852160" cy="4498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650" tIns="48312" rIns="96650" bIns="48312" anchor="t" anchorCtr="0">
            <a:noAutofit/>
          </a:bodyPr>
          <a:lstStyle/>
          <a:p>
            <a:pPr defTabSz="948507">
              <a:lnSpc>
                <a:spcPts val="1660"/>
              </a:lnSpc>
              <a:defRPr/>
            </a:pP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សម្គាល់៖</a:t>
            </a:r>
          </a:p>
          <a:p>
            <a:pPr defTabSz="948507">
              <a:lnSpc>
                <a:spcPts val="1660"/>
              </a:lnSpc>
              <a:defRPr/>
            </a:pPr>
            <a:endParaRPr lang="km-KH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defTabSz="948507">
              <a:lnSpc>
                <a:spcPts val="1660"/>
              </a:lnSpc>
              <a:defRPr/>
            </a:pP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៉ាក់ស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ត្រូវបានបង្កើតឡើងយ៉ាងរហ័ស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៉ុន្ដែជំហានដូចគ្នាទាំងអស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ៃសុវត្ថិភាព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​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ត្រូវបានធ្វើតាម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ំរាប់វ៉ាក់សាំងនេះ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ែលបានប្រើសំរាប់វ៉ាក់សាំងទាំងអស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់។ 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្រុមហ៊ុនវ៉ាក់ស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ានឈានយ៉ាងរហ័ស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ពីព្រោះតែ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៖</a:t>
            </a:r>
          </a:p>
          <a:p>
            <a:pPr defTabSz="948507">
              <a:lnSpc>
                <a:spcPts val="1660"/>
              </a:lnSpc>
              <a:defRPr/>
            </a:pPr>
            <a:endParaRPr lang="fr-CA" sz="1000" b="1" i="1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marL="474254" indent="-474254">
              <a:lnSpc>
                <a:spcPts val="1660"/>
              </a:lnSpc>
              <a:spcAft>
                <a:spcPts val="1037"/>
              </a:spcAft>
              <a:buFont typeface="+mj-lt"/>
              <a:buAutoNum type="arabicPeriod"/>
            </a:pPr>
            <a:r>
              <a:rPr lang="fr-CA" sz="1000" b="1" i="1" dirty="0" err="1">
                <a:latin typeface="Kh Content" panose="02000500000000020004" pitchFamily="2" charset="0"/>
                <a:cs typeface="Kh Content" panose="02000500000000020004" pitchFamily="2" charset="0"/>
              </a:rPr>
              <a:t>យើងមានព័ត៌មានជាជំនួយរួចហើយ</a:t>
            </a:r>
            <a:r>
              <a:rPr lang="fr-CA" sz="1000" b="1" i="1" dirty="0">
                <a:latin typeface="Kh Content" panose="02000500000000020004" pitchFamily="2" charset="0"/>
                <a:cs typeface="Kh Content" panose="02000500000000020004" pitchFamily="2" charset="0"/>
              </a:rPr>
              <a:t>៖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េរោគវីរុស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គឺជាផ្នែកមួយ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ៃគ្រួសារកូរ៉ុណាវីរុស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ែលបានសិក្សាជាយូរមកហើយ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 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្នក</a:t>
            </a:r>
            <a:b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</a:b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ជំនាញ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ៗ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ានសិក្សាព័ត៌មានសំខាន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់ៗ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កពីការផ្ទុះកូរ៉ុណាវីរុសផ្សេងៗទៀត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ែលបានជួយគេបង្កើតវ៉ាក់ស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ូច្នេះយើងមិនមែន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ានចាប់ផ្ដើមពីបាតដៃទទេឡើយ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endParaRPr lang="en-US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marL="474254" indent="-474254">
              <a:lnSpc>
                <a:spcPts val="1660"/>
              </a:lnSpc>
              <a:spcAft>
                <a:spcPts val="1037"/>
              </a:spcAft>
              <a:buFont typeface="+mj-lt"/>
              <a:buAutoNum type="arabicPeriod"/>
            </a:pPr>
            <a:r>
              <a:rPr lang="fr-CA" sz="1000" b="1" i="1" dirty="0" err="1">
                <a:latin typeface="Kh Content" panose="02000500000000020004" pitchFamily="2" charset="0"/>
                <a:cs typeface="Kh Content" panose="02000500000000020004" pitchFamily="2" charset="0"/>
              </a:rPr>
              <a:t>រដ្ឋាភិបាលបានផ្ដល់ប្រាក</a:t>
            </a:r>
            <a:r>
              <a:rPr lang="fr-CA" sz="1000" b="1" i="1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1000" b="1" i="1" dirty="0" err="1">
                <a:latin typeface="Kh Content" panose="02000500000000020004" pitchFamily="2" charset="0"/>
                <a:cs typeface="Kh Content" panose="02000500000000020004" pitchFamily="2" charset="0"/>
              </a:rPr>
              <a:t>សំរាប់ការស្រាវជ្រាវវ៉ាក់សាំង</a:t>
            </a:r>
            <a:r>
              <a:rPr lang="fr-CA" sz="1000" b="1" i="1" dirty="0">
                <a:latin typeface="Kh Content" panose="02000500000000020004" pitchFamily="2" charset="0"/>
                <a:cs typeface="Kh Content" panose="02000500000000020004" pitchFamily="2" charset="0"/>
              </a:rPr>
              <a:t>៖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ហរដ្ឋ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រដ្ឋាភិបាលផ្សេងទៀត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ានចាយប្រាក់យ៉ាងច្រើន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ើម្បីគាំទ្រក្រុមហ៊ុនវ៉ាក់ស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កិច្ចការរបស់គេ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ារធ្វើការជាមួយប្រទេសផ្សេ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ៗ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៏បានជួយអ្នកស្រាវជ្រាវ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ឈានយ៉ាងរហ័សដែរ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  <a:endParaRPr lang="en-US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marL="474254" indent="-474254">
              <a:lnSpc>
                <a:spcPts val="1660"/>
              </a:lnSpc>
              <a:spcAft>
                <a:spcPts val="1037"/>
              </a:spcAft>
              <a:buFont typeface="+mj-lt"/>
              <a:buAutoNum type="arabicPeriod"/>
            </a:pPr>
            <a:r>
              <a:rPr lang="fr-CA" sz="1000" b="1" i="1" dirty="0" err="1">
                <a:latin typeface="Kh Content" panose="02000500000000020004" pitchFamily="2" charset="0"/>
                <a:cs typeface="Kh Content" panose="02000500000000020004" pitchFamily="2" charset="0"/>
              </a:rPr>
              <a:t>មនុស្សរាប់ម៉ឺននាក</a:t>
            </a:r>
            <a:r>
              <a:rPr lang="fr-CA" sz="1000" b="1" i="1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1000" b="1" i="1" dirty="0" err="1">
                <a:latin typeface="Kh Content" panose="02000500000000020004" pitchFamily="2" charset="0"/>
                <a:cs typeface="Kh Content" panose="02000500000000020004" pitchFamily="2" charset="0"/>
              </a:rPr>
              <a:t>បានចូលរួមក្នុងការសិក្សាវ៉ាក់សាំង</a:t>
            </a:r>
            <a:r>
              <a:rPr lang="fr-CA" sz="1000" b="1" i="1" dirty="0">
                <a:latin typeface="Kh Content" panose="02000500000000020004" pitchFamily="2" charset="0"/>
                <a:cs typeface="Kh Content" panose="02000500000000020004" pitchFamily="2" charset="0"/>
              </a:rPr>
              <a:t>៖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 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ារសិក្សានូវវ៉ាក់ស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(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ហៅថា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េជ្ជសាស្រ្ដសា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)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ត្រូវបានធ្វើ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ើម្បីបង្ហាញភស្តុតាងថាវ៉ាក់ស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គឺមានសុវត្ថិភាព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ប្រសិទ្ធិភាព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 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នុស្សរាប់ម៉ឺននាក់បានចុះឈ្មោះសំរាប់ការសិក្សា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ូច្នេះហើយក្រុមហ៊ុន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ិនបាច់ចំណាយពេលច្រើន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ើម្បីរកអ្នកស្ម័គ្រចិត្ដឡើយ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  <a:endParaRPr lang="en-US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marL="474254" indent="-474254" algn="l">
              <a:lnSpc>
                <a:spcPts val="1660"/>
              </a:lnSpc>
              <a:buFont typeface="+mj-lt"/>
              <a:buAutoNum type="arabicPeriod"/>
            </a:pPr>
            <a:r>
              <a:rPr lang="fr-CA" sz="1000" b="1" i="1" dirty="0" err="1">
                <a:latin typeface="Kh Content" panose="02000500000000020004" pitchFamily="2" charset="0"/>
                <a:cs typeface="Kh Content" panose="02000500000000020004" pitchFamily="2" charset="0"/>
              </a:rPr>
              <a:t>ការផលិតបានកើតឡើងនៅពេលព្រមគ្នា</a:t>
            </a:r>
            <a:r>
              <a:rPr lang="fr-CA" sz="1000" b="1" i="1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b="1" i="1" dirty="0" err="1">
                <a:latin typeface="Kh Content" panose="02000500000000020004" pitchFamily="2" charset="0"/>
                <a:cs typeface="Kh Content" panose="02000500000000020004" pitchFamily="2" charset="0"/>
              </a:rPr>
              <a:t>ខណៈការសិក្សាសុវត្ថិភាព</a:t>
            </a:r>
            <a:r>
              <a:rPr lang="fr-CA" sz="1000" b="1" i="1" dirty="0">
                <a:latin typeface="Kh Content" panose="02000500000000020004" pitchFamily="2" charset="0"/>
                <a:cs typeface="Kh Content" panose="02000500000000020004" pitchFamily="2" charset="0"/>
              </a:rPr>
              <a:t>៖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 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្រុមហ៊ុនវ៉ាក់ស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ានចាប់ផ្ដើមធ្វើវ៉ាក់ស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ៅពេលព្រមគ្នា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ខណៈការសិក្សាកំពុងតែកើតឡើ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ោយសង្ឃឹមថាបានបង្ហាញភស្តុតា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ថាមានសុវត្ថិភាព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ប្រសិទ្ធិភាព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 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េះមានសេចក្ដីថា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៉ាក់សាំងគឺបានស្រេចបាច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ំរាប់ចែកចាយ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ាលណាវាត្រូវបានទទួលស្គាល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់។</a:t>
            </a:r>
          </a:p>
          <a:p>
            <a:pPr marL="474254" indent="-474254">
              <a:lnSpc>
                <a:spcPts val="1660"/>
              </a:lnSpc>
              <a:buFont typeface="+mj-lt"/>
              <a:buAutoNum type="arabicPeriod"/>
            </a:pPr>
            <a:endParaRPr lang="en-US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marL="474254" indent="-237127">
              <a:lnSpc>
                <a:spcPts val="1660"/>
              </a:lnSpc>
              <a:buClr>
                <a:srgbClr val="000000"/>
              </a:buClr>
              <a:buSzPts val="1400"/>
            </a:pPr>
            <a:endParaRPr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</p:txBody>
      </p:sp>
      <p:sp>
        <p:nvSpPr>
          <p:cNvPr id="442" name="Google Shape;442;p81:notes"/>
          <p:cNvSpPr txBox="1">
            <a:spLocks noGrp="1"/>
          </p:cNvSpPr>
          <p:nvPr>
            <p:ph type="sldNum" idx="12"/>
          </p:nvPr>
        </p:nvSpPr>
        <p:spPr>
          <a:xfrm>
            <a:off x="4143587" y="9119475"/>
            <a:ext cx="3169920" cy="4817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650" tIns="48312" rIns="96650" bIns="48312" anchor="b" anchorCtr="0">
            <a:noAutofit/>
          </a:bodyPr>
          <a:lstStyle/>
          <a:p>
            <a:pPr algn="l">
              <a:buSzPts val="1400"/>
            </a:pPr>
            <a:fld id="{00000000-1234-1234-1234-123412341234}" type="slidenum"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pPr algn="l">
                <a:buSzPts val="1400"/>
              </a:pPr>
              <a:t>10</a:t>
            </a:fld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4187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CBBDB-52D0-FE4C-8729-D7393D454E10}" type="slidenum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11</a:t>
            </a:fld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206944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12</a:t>
            </a:fld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766031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57200" y="4419599"/>
            <a:ext cx="6400800" cy="3981451"/>
          </a:xfrm>
        </p:spPr>
        <p:txBody>
          <a:bodyPr/>
          <a:lstStyle/>
          <a:p>
            <a:pPr>
              <a:lnSpc>
                <a:spcPts val="1400"/>
              </a:lnSpc>
              <a:spcAft>
                <a:spcPts val="600"/>
              </a:spcAft>
            </a:pPr>
            <a:r>
              <a:rPr lang="km-KH" sz="800" dirty="0">
                <a:latin typeface="Kh Content" panose="02000500000000020004" pitchFamily="2" charset="0"/>
                <a:cs typeface="Kh Content" panose="02000500000000020004" pitchFamily="2" charset="0"/>
              </a:rPr>
              <a:t>សម្គាល់៖</a:t>
            </a:r>
          </a:p>
          <a:p>
            <a:pPr>
              <a:lnSpc>
                <a:spcPts val="1400"/>
              </a:lnSpc>
              <a:spcAft>
                <a:spcPts val="600"/>
              </a:spcAft>
            </a:pPr>
            <a:endParaRPr lang="km-KH" sz="8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>
              <a:lnSpc>
                <a:spcPts val="1400"/>
              </a:lnSpc>
              <a:spcAft>
                <a:spcPts val="600"/>
              </a:spcAft>
            </a:pP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ឥទ្ធិពលរាយរងធ្ងន់ធ្ងរ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កពីវ៉ាក់សាំង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រួមទាំងវ៉ាក់សាំង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>
                <a:latin typeface="Calibri" panose="020F0502020204030204" pitchFamily="34" charset="0"/>
                <a:cs typeface="Calibri" panose="020F0502020204030204" pitchFamily="34" charset="0"/>
              </a:rPr>
              <a:t>COVID-19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គឺកម្រមាន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ៅក្នុងវេជ្ជសាស្រ្ដសាក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៉ាក់សាំង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>
                <a:latin typeface="Calibri" panose="020F0502020204030204" pitchFamily="34" charset="0"/>
                <a:cs typeface="Calibri" panose="020F0502020204030204" pitchFamily="34" charset="0"/>
              </a:rPr>
              <a:t>Pfizer, Moderna,</a:t>
            </a:r>
            <a:r>
              <a:rPr lang="fr-CA" sz="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>
                <a:latin typeface="Calibri" panose="020F0502020204030204" pitchFamily="34" charset="0"/>
                <a:cs typeface="Calibri" panose="020F0502020204030204" pitchFamily="34" charset="0"/>
              </a:rPr>
              <a:t>Janssen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ឥទ្ធិពល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​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រាយរងធ្ងន់ធ្ងរ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ានកើតឡើងតាមភាពញឹកញាប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ូចវាកើតឡើងក្នុងប្រជាជនទូទៅដែរ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្នុងចំណោមតិចជាង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>
                <a:latin typeface="Calibri" panose="020F0502020204030204" pitchFamily="34" charset="0"/>
                <a:cs typeface="Calibri" panose="020F0502020204030204" pitchFamily="34" charset="0"/>
              </a:rPr>
              <a:t>1.0%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ៃអ្នកចូលរួម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ែលបានទទួលវ៉ាក់សាំង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ពុំមានភាពខុសគ្នាគួរឲ្យកត់សំគាល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្នុងព្រឹត្ដិការណ៍មិនល្អធ្ងន់ធ្ងរ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តាមអាយុ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ជាតិសាសន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៍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ជាតិពន្ធ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ឬលក្ខណៈសុខភាពទេ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r>
              <a:rPr lang="km-KH" sz="800" dirty="0">
                <a:latin typeface="Kh Content" panose="02000500000000020004" pitchFamily="2" charset="0"/>
                <a:cs typeface="Kh Content" panose="02000500000000020004" pitchFamily="2" charset="0"/>
              </a:rPr>
              <a:t>ប្រតិកម្មចំពោះ​យុវជនអាយុ </a:t>
            </a:r>
            <a:r>
              <a:rPr lang="en-US" sz="800" dirty="0">
                <a:latin typeface="Kh Content" panose="02000500000000020004" pitchFamily="2" charset="0"/>
                <a:cs typeface="Kh Content" panose="02000500000000020004" pitchFamily="2" charset="0"/>
              </a:rPr>
              <a:t>12-15</a:t>
            </a:r>
            <a:r>
              <a:rPr lang="km-KH" sz="800" dirty="0">
                <a:latin typeface="Kh Content" panose="02000500000000020004" pitchFamily="2" charset="0"/>
                <a:cs typeface="Kh Content" panose="02000500000000020004" pitchFamily="2" charset="0"/>
              </a:rPr>
              <a:t> ឆ្នាំគឺសមស្របជាមួយ​នឹងប្រតិកម្មបាន​រាយការណ៍ ក្នុងការសាកល្បងគ្លីនិក។</a:t>
            </a:r>
            <a:endParaRPr lang="en-US" sz="8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>
              <a:lnSpc>
                <a:spcPts val="1400"/>
              </a:lnSpc>
              <a:spcAft>
                <a:spcPts val="600"/>
              </a:spcAft>
            </a:pPr>
            <a:endParaRPr lang="fr-CA" sz="8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>
              <a:lnSpc>
                <a:spcPts val="1400"/>
              </a:lnSpc>
            </a:pP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ើសិនអ្នកបានទទួលវ៉ាក់សាំង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>
                <a:latin typeface="Calibri" panose="020F0502020204030204" pitchFamily="34" charset="0"/>
                <a:cs typeface="Calibri" panose="020F0502020204030204" pitchFamily="34" charset="0"/>
              </a:rPr>
              <a:t>J&amp;J COVID-19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កើតមានរោគសញ្ញាអ្វីមួយ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ៅខាងក្រោម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្នុងពេល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800" dirty="0"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ាទិត្យ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ន្ទាប់ពីចាក់វ៉ាក់សាំង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្វែងរកការថែទាំសុខភាព</a:t>
            </a:r>
            <a:r>
              <a:rPr lang="km-KH" sz="800" dirty="0">
                <a:latin typeface="Kh Content" panose="02000500000000020004" pitchFamily="2" charset="0"/>
                <a:cs typeface="Kh Content" panose="02000500000000020004" pitchFamily="2" charset="0"/>
              </a:rPr>
              <a:t>មួយរំពេច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៖ </a:t>
            </a:r>
          </a:p>
          <a:p>
            <a:pPr marL="829944" lvl="1" indent="-355690">
              <a:lnSpc>
                <a:spcPts val="1400"/>
              </a:lnSpc>
              <a:buFont typeface="Arial" panose="020B0604020202020204" pitchFamily="34" charset="0"/>
              <a:buChar char="•"/>
            </a:pP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ឈឺក្បាលធ្ងន់ធ្ងរ</a:t>
            </a:r>
            <a:r>
              <a:rPr lang="km-KH" sz="800" dirty="0">
                <a:latin typeface="Kh Content" panose="02000500000000020004" pitchFamily="2" charset="0"/>
                <a:cs typeface="Kh Content" panose="02000500000000020004" pitchFamily="2" charset="0"/>
              </a:rPr>
              <a:t> ឬការព្រិលភ្នែក</a:t>
            </a:r>
            <a:endParaRPr lang="fr-CA" sz="8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marL="829944" lvl="1" indent="-355690">
              <a:lnSpc>
                <a:spcPts val="1400"/>
              </a:lnSpc>
              <a:buFont typeface="Arial" panose="020B0604020202020204" pitchFamily="34" charset="0"/>
              <a:buChar char="•"/>
            </a:pP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ឈឺដំបារពោះ</a:t>
            </a:r>
            <a:r>
              <a:rPr lang="km-KH" sz="800" dirty="0">
                <a:latin typeface="Kh Content" panose="02000500000000020004" pitchFamily="2" charset="0"/>
                <a:cs typeface="Kh Content" panose="02000500000000020004" pitchFamily="2" charset="0"/>
              </a:rPr>
              <a:t>ដែលមិនចេះបាត់</a:t>
            </a:r>
            <a:endParaRPr lang="fr-CA" sz="8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marL="829944" lvl="1" indent="-355690">
              <a:lnSpc>
                <a:spcPts val="1400"/>
              </a:lnSpc>
              <a:buFont typeface="Arial" panose="020B0604020202020204" pitchFamily="34" charset="0"/>
              <a:buChar char="•"/>
            </a:pP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ឈឺ</a:t>
            </a:r>
            <a:r>
              <a:rPr lang="km-KH" sz="800" dirty="0">
                <a:latin typeface="Kh Content" panose="02000500000000020004" pitchFamily="2" charset="0"/>
                <a:cs typeface="Kh Content" panose="02000500000000020004" pitchFamily="2" charset="0"/>
              </a:rPr>
              <a:t>ទ្រូង</a:t>
            </a:r>
          </a:p>
          <a:p>
            <a:pPr marL="829944" lvl="1" indent="-355690">
              <a:lnSpc>
                <a:spcPts val="1400"/>
              </a:lnSpc>
              <a:buFont typeface="Arial" panose="020B0604020202020204" pitchFamily="34" charset="0"/>
              <a:buChar char="•"/>
            </a:pPr>
            <a:r>
              <a:rPr lang="km-KH" sz="800" dirty="0">
                <a:latin typeface="Kh Content" panose="02000500000000020004" pitchFamily="2" charset="0"/>
                <a:cs typeface="Kh Content" panose="02000500000000020004" pitchFamily="2" charset="0"/>
              </a:rPr>
              <a:t>ហើមជើង</a:t>
            </a:r>
            <a:endParaRPr lang="fr-CA" sz="8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marL="829944" lvl="1" indent="-355690">
              <a:lnSpc>
                <a:spcPts val="1400"/>
              </a:lnSpc>
              <a:spcAft>
                <a:spcPts val="622"/>
              </a:spcAft>
              <a:buFont typeface="Arial" panose="020B0604020202020204" pitchFamily="34" charset="0"/>
              <a:buChar char="•"/>
            </a:pP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កដង្ហើមផុត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ៗ</a:t>
            </a:r>
            <a:endParaRPr lang="km-KH" sz="8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marL="829944" lvl="1" indent="-355690">
              <a:lnSpc>
                <a:spcPts val="1400"/>
              </a:lnSpc>
              <a:spcAft>
                <a:spcPts val="622"/>
              </a:spcAft>
              <a:buFont typeface="Arial" panose="020B0604020202020204" pitchFamily="34" charset="0"/>
              <a:buChar char="•"/>
            </a:pPr>
            <a:r>
              <a:rPr lang="km-KH" sz="800" dirty="0">
                <a:latin typeface="Kh Content" panose="02000500000000020004" pitchFamily="2" charset="0"/>
                <a:cs typeface="Kh Content" panose="02000500000000020004" pitchFamily="2" charset="0"/>
              </a:rPr>
              <a:t>ងាយនឹងជាំ ឬមានចំណុចឈាមតូចៗនៅលើស្បែក</a:t>
            </a:r>
            <a:endParaRPr lang="en-US" sz="8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>
              <a:lnSpc>
                <a:spcPts val="1400"/>
              </a:lnSpc>
              <a:spcAft>
                <a:spcPts val="622"/>
              </a:spcAft>
            </a:pP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ៅក្នុងការ</a:t>
            </a:r>
            <a:r>
              <a:rPr lang="km-KH" sz="800" dirty="0">
                <a:latin typeface="Kh Content" panose="02000500000000020004" pitchFamily="2" charset="0"/>
                <a:cs typeface="Kh Content" panose="02000500000000020004" pitchFamily="2" charset="0"/>
              </a:rPr>
              <a:t>ចាក់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៉ាក់សាំង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b="1" dirty="0">
                <a:latin typeface="Calibri" panose="020F0502020204030204" pitchFamily="34" charset="0"/>
                <a:cs typeface="Calibri" panose="020F0502020204030204" pitchFamily="34" charset="0"/>
              </a:rPr>
              <a:t>Moderna</a:t>
            </a:r>
            <a:r>
              <a:rPr lang="fr-CA" sz="1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ឧទាហរណ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៍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ៃឥទ្ធិពលរាយរងធ្ងន់ធ្ងរ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ានបញ្ចូលមនុស្សពីរនាក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ានហើមមុខ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ួយនាក់មានរមូលពោះ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km-KH" sz="800" dirty="0">
                <a:latin typeface="Kh Content" panose="02000500000000020004" pitchFamily="2" charset="0"/>
                <a:cs typeface="Kh Content" panose="02000500000000020004" pitchFamily="2" charset="0"/>
              </a:rPr>
              <a:t>និងក្អួតចង្អោរ</a:t>
            </a:r>
            <a:r>
              <a:rPr lang="en-US" sz="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ពិបាកទប់ទល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ហើយមួយនាក់ទៀត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រាយការណ៍ថាមានវៀចមុខ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ៅក្នុងការចាក់វ៉ាក់សាំង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b="1" dirty="0">
                <a:latin typeface="Calibri" panose="020F0502020204030204" pitchFamily="34" charset="0"/>
                <a:cs typeface="Calibri" panose="020F0502020204030204" pitchFamily="34" charset="0"/>
              </a:rPr>
              <a:t>Pfizer</a:t>
            </a:r>
            <a:r>
              <a:rPr lang="fr-CA" sz="1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ឧទាហរណ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៍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ានបញ្ចូលនូវរបួសស្មា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ៅកន្លែងចាក់វ៉ាក់សាំង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បានហើមក្រពេញទឹករងៃ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្នុងក្លៀក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ផ្ទុយនឹងដៃចាក់វ៉ាក់សាំង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ៅក្នុងការ</a:t>
            </a:r>
            <a:r>
              <a:rPr lang="km-KH" sz="800" dirty="0">
                <a:latin typeface="Kh Content" panose="02000500000000020004" pitchFamily="2" charset="0"/>
                <a:cs typeface="Kh Content" panose="02000500000000020004" pitchFamily="2" charset="0"/>
              </a:rPr>
              <a:t>ចាក់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៉ាក់សាំង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b="1" dirty="0">
                <a:latin typeface="Calibri" panose="020F0502020204030204" pitchFamily="34" charset="0"/>
                <a:cs typeface="Calibri" panose="020F0502020204030204" pitchFamily="34" charset="0"/>
              </a:rPr>
              <a:t>Janssen</a:t>
            </a:r>
            <a:r>
              <a:rPr lang="fr-CA" sz="1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ឧទាហរណ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៍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ានបញ្ចូលមនុស្សបួននាក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ែលមានការប្រកាច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មនុស្សប្រាំមួយនាក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ានកកឈាមក្នុងសរសៃឈាមយ៉ាងជ្រៅ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យើងមិនដឹងបើសិនឥទ្ធិពលរាយរងធ្ងន់ធ្ងរទាំងនេះ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ទាក់ទងនឹងវ៉ាក់សាំង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ឬអត់ទេ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</a:p>
          <a:p>
            <a:pPr>
              <a:lnSpc>
                <a:spcPts val="1400"/>
              </a:lnSpc>
              <a:spcAft>
                <a:spcPts val="622"/>
              </a:spcAft>
            </a:pP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ឧទាហរណ៍មួយចំនួន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ៃប្រតិកម្ម</a:t>
            </a:r>
            <a:r>
              <a:rPr lang="km-KH" sz="800" dirty="0">
                <a:latin typeface="Kh Content" panose="02000500000000020004" pitchFamily="2" charset="0"/>
                <a:cs typeface="Kh Content" panose="02000500000000020004" pitchFamily="2" charset="0"/>
              </a:rPr>
              <a:t>អាល់ឡ័រជី</a:t>
            </a:r>
            <a:r>
              <a:rPr lang="en-US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ធ្ង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់ធ្ងរ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ត្រូវបានរាយការណ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៍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ៅខាងក្រៅនៃវេជ្ជសាស្រ្ដសាក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ើលរូបបញ្ចាំង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ំរាប់ព័ត៌មានថែមទៀត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ំពីប្រតិកម្មអាល់ឡ័រជី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</a:p>
          <a:p>
            <a:pPr>
              <a:lnSpc>
                <a:spcPts val="1400"/>
              </a:lnSpc>
              <a:spcAft>
                <a:spcPts val="600"/>
              </a:spcAft>
            </a:pP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ឥទ្ធិពលរាយរងតិចតួច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គឺជាទូទៅបន្ទាប់ពីចាក់ដូស្សទីពីរនៃ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>
                <a:latin typeface="Calibri" panose="020F0502020204030204" pitchFamily="34" charset="0"/>
                <a:cs typeface="Calibri" panose="020F0502020204030204" pitchFamily="34" charset="0"/>
              </a:rPr>
              <a:t>Moderna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>
                <a:latin typeface="Calibri" panose="020F0502020204030204" pitchFamily="34" charset="0"/>
                <a:cs typeface="Calibri" panose="020F0502020204030204" pitchFamily="34" charset="0"/>
              </a:rPr>
              <a:t>Pfizer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800" dirty="0" err="1">
                <a:latin typeface="Kh Content" panose="02000500000000020004" pitchFamily="2" charset="0"/>
                <a:cs typeface="Kh Content" panose="02000500000000020004" pitchFamily="2" charset="0"/>
              </a:rPr>
              <a:t>ជាងទីមួយ</a:t>
            </a:r>
            <a:r>
              <a:rPr lang="fr-CA" sz="800" dirty="0"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  <a:endParaRPr lang="en-US" sz="8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u="sng" kern="1200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  <a:hlinkClick r:id="rId3"/>
              </a:rPr>
              <a:t>https://www.fda.gov/emergency-preparedness-and-response/mcm-legal-regulatory-and-policy-framework/pfizer-biontech-covid-19-vaccine-frequently-asked-questions</a:t>
            </a:r>
            <a:r>
              <a:rPr lang="en-US" sz="1800" kern="12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  </a:t>
            </a:r>
            <a:endParaRPr lang="en-US" sz="1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DaunPenh" panose="01010101010101010101" pitchFamily="2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u="sng" kern="1200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  <a:hlinkClick r:id="rId4"/>
              </a:rPr>
              <a:t>https://www.fda.gov/emergency-preparedness-and-response/mcm-legal-regulatory-and-policy-framework/moderna-covid-19-vaccine-frequently-asked-questions</a:t>
            </a:r>
            <a:endParaRPr lang="en-US" sz="1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DaunPenh" panose="01010101010101010101" pitchFamily="2" charset="0"/>
            </a:endParaRPr>
          </a:p>
          <a:p>
            <a:r>
              <a:rPr lang="en-US" sz="18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5"/>
              </a:rPr>
              <a:t>https://www.fda.gov/emergency-preparedness-and-response/mcm-legal-regulatory-and-policy-framework/janssen-covid-19-vaccine-frequently-asked-questions</a:t>
            </a:r>
            <a:endParaRPr lang="fr-CA" sz="1000" i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948507">
              <a:defRPr/>
            </a:pPr>
            <a:endParaRPr lang="fr-CA" sz="1000" i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948507">
              <a:lnSpc>
                <a:spcPts val="1660"/>
              </a:lnSpc>
              <a:defRPr/>
            </a:pPr>
            <a:endParaRPr lang="en-US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>
              <a:lnSpc>
                <a:spcPts val="1660"/>
              </a:lnSpc>
            </a:pPr>
            <a:endParaRPr lang="en-US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6438899" y="9119475"/>
            <a:ext cx="874607" cy="481726"/>
          </a:xfrm>
        </p:spPr>
        <p:txBody>
          <a:bodyPr/>
          <a:lstStyle/>
          <a:p>
            <a:fld id="{D34CBBDB-52D0-FE4C-8729-D7393D454E10}" type="slidenum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13</a:t>
            </a:fld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841046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800"/>
              </a:lnSpc>
            </a:pP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សម្គាល់៖</a:t>
            </a:r>
          </a:p>
          <a:p>
            <a:pPr>
              <a:lnSpc>
                <a:spcPts val="1800"/>
              </a:lnSpc>
            </a:pPr>
            <a:endParaRPr lang="km-KH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>
              <a:lnSpc>
                <a:spcPts val="1800"/>
              </a:lnSpc>
            </a:pP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ជាសរុប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50.6%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ៃអ្ន</a:t>
            </a: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ចូលរួម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ៅក្នុងការសាកសុវត្ថិភាពនៃ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b="1" dirty="0">
                <a:latin typeface="Calibri" panose="020F0502020204030204" pitchFamily="34" charset="0"/>
                <a:cs typeface="Calibri" panose="020F0502020204030204" pitchFamily="34" charset="0"/>
              </a:rPr>
              <a:t>Pfizer</a:t>
            </a:r>
            <a:r>
              <a:rPr lang="fr-CA" sz="1000" b="1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ានបុរស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49.4%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ជាស្រ្ដី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,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83.1%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ជាស្បែកស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,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9.1%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ជាស្បែកខ្មៅ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ឬ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ាហ្វ្រិ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-</a:t>
            </a:r>
            <a:b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</a:b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ាមេរិ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,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28.0%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ជាហ៊ិស្បានិ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ឬឡាទីណូ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,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4.3%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ជាអាស៊ី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,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0.5%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ជាអាមេរិក-ឥណ្ឌាន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ឬជនជាតិដើមអាឡាស្កា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  </a:t>
            </a: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សុវត្ថិភាពនៃវ៉ាក់សាំង</a:t>
            </a:r>
            <a:r>
              <a:rPr lang="en-US" sz="1000" dirty="0">
                <a:latin typeface="Kh Content" panose="02000500000000020004" pitchFamily="2" charset="0"/>
                <a:cs typeface="Kh Content" panose="02000500000000020004" pitchFamily="2" charset="0"/>
              </a:rPr>
              <a:t> Pfizer</a:t>
            </a: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 ក្នុងមនុស្សជំទង់ដែលត្រូវ​បាន​គេបាន​សិក្សាស្រាវជ្រាវក្នុងចំនួនមនុស្សជំទង់</a:t>
            </a:r>
            <a:r>
              <a:rPr lang="en-US" sz="1000" dirty="0">
                <a:latin typeface="Kh Content" panose="02000500000000020004" pitchFamily="2" charset="0"/>
                <a:cs typeface="Kh Content" panose="02000500000000020004" pitchFamily="2" charset="0"/>
              </a:rPr>
              <a:t> 2,260</a:t>
            </a: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 នាក់​ដែល​មានអាយុ </a:t>
            </a:r>
            <a:r>
              <a:rPr lang="en-US" sz="1000" dirty="0">
                <a:latin typeface="Kh Content" panose="02000500000000020004" pitchFamily="2" charset="0"/>
                <a:cs typeface="Kh Content" panose="02000500000000020004" pitchFamily="2" charset="0"/>
              </a:rPr>
              <a:t>12-15</a:t>
            </a: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​ ឆ្នាំ</a:t>
            </a:r>
            <a:r>
              <a:rPr lang="km-KH" sz="1000" baseline="0" dirty="0">
                <a:latin typeface="Kh Content" panose="02000500000000020004" pitchFamily="2" charset="0"/>
                <a:cs typeface="Kh Content" panose="02000500000000020004" pitchFamily="2" charset="0"/>
              </a:rPr>
              <a:t> និង​កុមារ 3,000នាក់ អាយុ​ 5-11ឆ្នាំ</a:t>
            </a: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(https://www.fda.gov/media/144413/download)</a:t>
            </a:r>
          </a:p>
          <a:p>
            <a:pPr>
              <a:lnSpc>
                <a:spcPts val="1800"/>
              </a:lnSpc>
            </a:pP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 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14</a:t>
            </a:fld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616044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660"/>
              </a:lnSpc>
            </a:pP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សម្គាល់៖</a:t>
            </a:r>
          </a:p>
          <a:p>
            <a:pPr>
              <a:lnSpc>
                <a:spcPts val="1660"/>
              </a:lnSpc>
            </a:pPr>
            <a:endParaRPr lang="km-KH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>
              <a:lnSpc>
                <a:spcPts val="1660"/>
              </a:lnSpc>
            </a:pP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ជាសរុប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52.7%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ៃអ្នក</a:t>
            </a: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ចូលរួម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ៅក្នុងការសាកសុវត្ថិភាពនៃ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Moderna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ានបុរស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,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47.3%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ជាស្រ្ដី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,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79.2% 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</a:p>
          <a:p>
            <a:pPr>
              <a:lnSpc>
                <a:spcPts val="1660"/>
              </a:lnSpc>
            </a:pP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ជាស្បែកស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,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10.2%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ជាស្បែកខ្មៅ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ឬ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ាហ្វ្រិក-អាមេរិ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,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20.5%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ជាហ៊ិស្បានិ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ឬឡាទីណូ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,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4.6%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ជាអាស៊ី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,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0.8% 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</a:p>
          <a:p>
            <a:pPr>
              <a:lnSpc>
                <a:spcPts val="1660"/>
              </a:lnSpc>
            </a:pP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ជាអាមេរិក-ឥណ្ឌាន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ឬជនជាតិដើមអាឡាស្កា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,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0.2%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ជាជនជាតិដើមហាវ៉ៃ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ឬអ្នកកោះប៉ាស៊ីហ្វិ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,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2.1%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ជាអ្នកផ្សេងទៀត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,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2.1%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ជាចំរុះជាតិសាសន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៍។</a:t>
            </a:r>
          </a:p>
          <a:p>
            <a:pPr>
              <a:lnSpc>
                <a:spcPts val="1660"/>
              </a:lnSpc>
            </a:pPr>
            <a:endParaRPr lang="en-US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defTabSz="948507">
              <a:lnSpc>
                <a:spcPts val="1660"/>
              </a:lnSpc>
              <a:defRPr/>
            </a:pP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ធ្យមភាពអាយុនៃអ្នកចូលរួមគឺ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52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ឆ្នាំ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;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75.2%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គឺអាយុពី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18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ទៅ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64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ឆ្នាំ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24.8%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គឺអាយុ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65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ឆ្នាំ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ចាស់ជាង</a:t>
            </a: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​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  <a:b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</a:br>
            <a:endParaRPr lang="fr-CA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>
              <a:lnSpc>
                <a:spcPts val="1660"/>
              </a:lnSpc>
            </a:pP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ុគ្គលិកលក្ខណៈនៃប្រជាសាស្រ្ដ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គឺស្រដៀងគ្នា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្នុងចំណោមអ្នកចូលរួម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ែលបានទទួលវ៉ាក់ស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Moderna COVID-19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អស់អ្នកដែលបានទទួលថ្នាំពិសោធន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៍។</a:t>
            </a:r>
          </a:p>
          <a:p>
            <a:pPr>
              <a:lnSpc>
                <a:spcPts val="1660"/>
              </a:lnSpc>
            </a:pPr>
            <a:endParaRPr lang="en-US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>
              <a:lnSpc>
                <a:spcPts val="1660"/>
              </a:lnSpc>
            </a:pP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https://www.fda.gov/media/144637/download </a:t>
            </a:r>
          </a:p>
          <a:p>
            <a:pPr>
              <a:lnSpc>
                <a:spcPts val="1660"/>
              </a:lnSpc>
            </a:pPr>
            <a:endParaRPr lang="en-US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15</a:t>
            </a:fld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935958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660"/>
              </a:lnSpc>
            </a:pP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សម្គាល់៖</a:t>
            </a:r>
          </a:p>
          <a:p>
            <a:pPr>
              <a:lnSpc>
                <a:spcPts val="1660"/>
              </a:lnSpc>
            </a:pPr>
            <a:endParaRPr lang="km-KH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>
              <a:lnSpc>
                <a:spcPts val="1660"/>
              </a:lnSpc>
            </a:pP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ជាសរុប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45%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ៃអ្នក</a:t>
            </a: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ចូលរួម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ៅក្នុងការសាក</a:t>
            </a: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សុវត្ថិ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ភាពនៃ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b="1" dirty="0">
                <a:latin typeface="Calibri" panose="020F0502020204030204" pitchFamily="34" charset="0"/>
                <a:cs typeface="Calibri" panose="020F0502020204030204" pitchFamily="34" charset="0"/>
              </a:rPr>
              <a:t>Janssen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ានស្រ្ដី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,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55%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ជាបុរស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,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58.7%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ជាស្បែកស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,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19.4%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ជាស្បែកខ្មៅ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ឬ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ាហ្វ្រិក-អាមេរិ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,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45.3%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ជាហ៊ិស្បានិ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ឬឡាទីណូ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,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3.3%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ជាអាស៊ី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,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 9.5%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ជាអាមេរិក-ឥណ្ឌាន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/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ជនជាតិដើមអាឡាស្កា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,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0.2%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ជាជនជាតិដើមហាវ៉ៃ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ឬអ្នកកោះប៉ាស៊ីហ្វិ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ផ្សេងទៀត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,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5.6%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កពីក្រុមចំរុះជាតិសាសន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៍,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1.4%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ជាសាសន៍ដែលមិនស្គាល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់។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ធ្យភាគអាយុនៃអ្នកចូលរួមគឺ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 52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ឆ្នាំ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</a:p>
          <a:p>
            <a:pPr>
              <a:lnSpc>
                <a:spcPts val="1660"/>
              </a:lnSpc>
            </a:pP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 </a:t>
            </a:r>
          </a:p>
          <a:p>
            <a:pPr>
              <a:lnSpc>
                <a:spcPts val="1660"/>
              </a:lnSpc>
            </a:pP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ុគ្គលិកលក្ខណៈនៃប្រជាសាស្រ្ដ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គឺស្រដៀងគ្នា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្នុងចំណោមអ្នកចូលរួម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ែលបានទទួលវ៉ាក់សាំង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 Janssen COVID-19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អស់អ្នកដែលបានទទួលថ្នាំពិសោធន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៍។</a:t>
            </a:r>
          </a:p>
          <a:p>
            <a:pPr>
              <a:lnSpc>
                <a:spcPts val="1660"/>
              </a:lnSpc>
            </a:pP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 </a:t>
            </a:r>
          </a:p>
          <a:p>
            <a:pPr>
              <a:lnSpc>
                <a:spcPts val="1660"/>
              </a:lnSpc>
            </a:pP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  </a:t>
            </a:r>
          </a:p>
          <a:p>
            <a:pPr>
              <a:lnSpc>
                <a:spcPts val="1660"/>
              </a:lnSpc>
            </a:pPr>
            <a:r>
              <a:rPr lang="fr-CA" u="sng" dirty="0"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https://www.fda.gov/media/146304/download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16</a:t>
            </a:fld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392719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1520" y="4620577"/>
            <a:ext cx="5852160" cy="4351973"/>
          </a:xfrm>
        </p:spPr>
        <p:txBody>
          <a:bodyPr/>
          <a:lstStyle/>
          <a:p>
            <a:pPr>
              <a:lnSpc>
                <a:spcPts val="1800"/>
              </a:lnSpc>
            </a:pP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សម្គាល់៖</a:t>
            </a:r>
          </a:p>
          <a:p>
            <a:pPr>
              <a:lnSpc>
                <a:spcPts val="1800"/>
              </a:lnSpc>
            </a:pPr>
            <a:endParaRPr lang="km-KH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>
              <a:lnSpc>
                <a:spcPts val="1800"/>
              </a:lnSpc>
            </a:pP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ថ្វីបើមានឱកាសតិចតួច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ែលវ៉ាក់ស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ាចបណ្ដាលឲ្យមាន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្រតិកម្មអាល់ឡ័រជីធ្ងន់ធ្ងរ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គង់តែការនេះតាមធម្មតា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ឹងកើតឡើងក្នុងពេលពីរបីនាទី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ទៅមួយម៉ោ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ន្ទាប់ពីទទួលវ៉ាក់ស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  </a:t>
            </a:r>
          </a:p>
          <a:p>
            <a:pPr>
              <a:lnSpc>
                <a:spcPts val="1800"/>
              </a:lnSpc>
            </a:pPr>
            <a:endParaRPr lang="en-US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>
              <a:lnSpc>
                <a:spcPts val="1800"/>
              </a:lnSpc>
            </a:pP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ញ្ញានៃប្រតិកម្មអាល់ឡ័រជីធ្ងន់ធ្ងរ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ាចរួមមាន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៖ </a:t>
            </a:r>
          </a:p>
          <a:p>
            <a:pPr>
              <a:lnSpc>
                <a:spcPts val="1800"/>
              </a:lnSpc>
            </a:pP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•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ពិបាកដកដង្ហើម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</a:p>
          <a:p>
            <a:pPr>
              <a:lnSpc>
                <a:spcPts val="1800"/>
              </a:lnSpc>
            </a:pP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•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ហើមមុខ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បំពង់ករបស់អ្ន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</a:p>
          <a:p>
            <a:pPr>
              <a:lnSpc>
                <a:spcPts val="1800"/>
              </a:lnSpc>
            </a:pP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•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ល្បឿនបេះដូងដើរញាប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</a:p>
          <a:p>
            <a:pPr>
              <a:lnSpc>
                <a:spcPts val="1800"/>
              </a:lnSpc>
            </a:pP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•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ន្ទួលខ្ល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ៅពេញខ្លួនរបស់អ្ន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</a:p>
          <a:p>
            <a:pPr>
              <a:lnSpc>
                <a:spcPts val="1800"/>
              </a:lnSpc>
            </a:pP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•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ិលមុខ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ខ្សោយកំឡ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</a:p>
          <a:p>
            <a:pPr>
              <a:lnSpc>
                <a:spcPts val="1800"/>
              </a:lnSpc>
            </a:pPr>
            <a:endParaRPr lang="en-US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>
              <a:lnSpc>
                <a:spcPts val="1800"/>
              </a:lnSpc>
            </a:pP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ើសិនអ្នកមានប្រវតិ្ដ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ៃប្រតិកម្មអាល់ឡ័រជី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្នកផ្ដល់ការចាក់វ៉ាក់សាំងឲ្យអ្ន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ាចនឹងសូមឲ្យអ្នកនៅនឹងកន្លែ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ែលអ្នកបានទទួលវ៉ាក់សាំងរបស់អ្ន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ំរាប់ការត្រួតមើលជាបន្ទាប់ម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</a:p>
          <a:p>
            <a:pPr>
              <a:lnSpc>
                <a:spcPts val="1800"/>
              </a:lnSpc>
            </a:pPr>
            <a:endParaRPr lang="en-US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defTabSz="948507">
              <a:lnSpc>
                <a:spcPts val="1800"/>
              </a:lnSpc>
              <a:defRPr/>
            </a:pP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CDC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ានពិនិត្យមើលទិន្នន័យដែលបានរាយការណ៍ទៅ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្រព័ន្ធរាយការណ៍ព្រឹត្ដិការណ៍ប្រទូស្ដប្រទាំងវ៉ាក់ស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(Vaccine Adverse </a:t>
            </a:r>
            <a:r>
              <a:rPr lang="fr-CA" dirty="0" err="1">
                <a:latin typeface="Calibri" panose="020F0502020204030204" pitchFamily="34" charset="0"/>
                <a:cs typeface="Calibri" panose="020F0502020204030204" pitchFamily="34" charset="0"/>
              </a:rPr>
              <a:t>Event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CA" dirty="0" err="1">
                <a:latin typeface="Calibri" panose="020F0502020204030204" pitchFamily="34" charset="0"/>
                <a:cs typeface="Calibri" panose="020F0502020204030204" pitchFamily="34" charset="0"/>
              </a:rPr>
              <a:t>Reporting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 System, VAERS)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ចាប់តាំងពីពាក់កណ្ដាលខែធ្នូ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កដល់ពាក់កណ្ដាលខែមករា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ក៏កម្រមានរបាយការណ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៍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ៃប្រតិកម្មអាល់ឡ័រជីធ្ងន់ធ្ងរ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ន្ទាប់ពីការចាក់វ៉ាក់ស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COVID-19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ែលបានកើតឡើ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ានកម្រិតស្រដៀងគ្នា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ឹងអ្វីៗដែលបានឃើញ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ជាមួយវ៉ាក់សាំងដែលបានប្រើជាទូទៅដែរ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ូចជាវ៉ាក់សាំងគ្រុនផ្ដាសាយធំ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17</a:t>
            </a:fld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82895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8507">
              <a:lnSpc>
                <a:spcPts val="1660"/>
              </a:lnSpc>
              <a:defRPr/>
            </a:pP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សម្គាល់៖</a:t>
            </a:r>
          </a:p>
          <a:p>
            <a:pPr defTabSz="948507">
              <a:lnSpc>
                <a:spcPts val="1660"/>
              </a:lnSpc>
              <a:defRPr/>
            </a:pPr>
            <a:endParaRPr lang="km-KH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defTabSz="948507">
              <a:lnSpc>
                <a:spcPts val="1660"/>
              </a:lnSpc>
              <a:defRPr/>
            </a:pP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៉ាក់ស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ំពុងតែបានសិក្សា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ោយប្រយ័ត្នប្រយែ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ៅឥឡូវនេះ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ហើយនឹងបានសិក្សាជាបន្ដទៀតជាច្រើនឆ្នាំ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្រដៀងគ្នានឹងវ៉ាក់សាំងផ្សេងៗដែរ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  </a:t>
            </a:r>
          </a:p>
          <a:p>
            <a:pPr defTabSz="948507">
              <a:lnSpc>
                <a:spcPts val="1660"/>
              </a:lnSpc>
              <a:defRPr/>
            </a:pPr>
            <a:endParaRPr lang="en-US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>
              <a:lnSpc>
                <a:spcPts val="1660"/>
              </a:lnSpc>
            </a:pP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េះគឺជាសុវត្ថិភាពរបស់វា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៖</a:t>
            </a:r>
          </a:p>
          <a:p>
            <a:pPr marL="177845" indent="-177845">
              <a:lnSpc>
                <a:spcPts val="1660"/>
              </a:lnSpc>
              <a:buFontTx/>
              <a:buChar char="-"/>
            </a:pP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៉ាក់ស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៏ដូចវ៉ាក់សាំងផ្សេងៗទៀតដែរ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ាធ្វើការតាមការបង្រៀន</a:t>
            </a: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ខ្លួន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របស់យើ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ើម្បីបង្កើតអង្គបដិបក្ខប្រាណ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ែលប្រយុទ្ធប្រឆាំងនឹងវីរុស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ែលបណ្ដាលឲ្យមាន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ើម្បីការពារជំងឺនៅអនាគត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  </a:t>
            </a:r>
          </a:p>
          <a:p>
            <a:pPr marL="177845" indent="-177845">
              <a:lnSpc>
                <a:spcPts val="1660"/>
              </a:lnSpc>
              <a:buFontTx/>
              <a:buChar char="-"/>
            </a:pP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ាពុំមានភស្តុតាងនៅឥឡូវនេះ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ែលអង្គបដិបក្ខប្រាណ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ានកើតមកពីការចាក់វ៉ាក់ស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ឹងបណ្ដាលឲ្យមានបញ្ហាអ្វីមួយ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ជាមួយនឹងការមានគភ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៌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រួមទាំងការកកើតនូវសុកដែរ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</a:p>
          <a:p>
            <a:pPr marL="177845" indent="-177845">
              <a:lnSpc>
                <a:spcPts val="1660"/>
              </a:lnSpc>
              <a:buFontTx/>
              <a:buChar char="-"/>
            </a:pP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តាមពិត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ាពុំមានភស្ដុតាងថាបញ្ហាភាពពុំអាចមានគភ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៌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គឺជាឥទ្ធិពលរាយរងនៃវ៉ាក់សាំងអ្វីមួយឡើយ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18</a:t>
            </a:fld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935577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8507">
              <a:lnSpc>
                <a:spcPts val="1800"/>
              </a:lnSpc>
              <a:defRPr/>
            </a:pPr>
            <a:endParaRPr lang="fr-CA" dirty="0">
              <a:latin typeface="Kh Conten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19</a:t>
            </a:fld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08332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CBBDB-52D0-FE4C-8729-D7393D454E10}" type="slidenum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2</a:t>
            </a:fld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945037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m-KH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សម្គាល់៖</a:t>
            </a: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km-KH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វ៉ាក់សាំង​ជំងឺ​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OVID-19</a:t>
            </a:r>
            <a:r>
              <a:rPr lang="km-KH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ប្រភេទ​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fizer</a:t>
            </a:r>
            <a:r>
              <a:rPr lang="km-KH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មានប្រសិទ្ធភាព​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90% </a:t>
            </a:r>
            <a:r>
              <a:rPr lang="km-KH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ក្នុងការបង្ការ​ជំងឺ​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OVID-19</a:t>
            </a:r>
            <a:r>
              <a:rPr lang="km-KH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ទៅលើកុមារអាយុ​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5</a:t>
            </a:r>
            <a:r>
              <a:rPr lang="km-KH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ឆ្នាំ​ដល់​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1</a:t>
            </a:r>
            <a:r>
              <a:rPr lang="km-KH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ឆ្នាំ​។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km-KH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ការឲ្យកុមារ​ចាក់វ៉ាក់សាំង​</a:t>
            </a:r>
            <a:r>
              <a:rPr lang="km-KH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អាច​ជួយ​ការពារពួកគេ​ប្រឆាំង​នឹង​ជំងឺ​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OVID-19</a:t>
            </a:r>
            <a:r>
              <a:rPr lang="km-KH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ព្រមទាំង​កាត់បន្ថយ​ការរាំង​ស្ទះ​ដល់សកម្មភាព​សិក្សា​ដោយផ្ទាល់ និង​សកម្មភាព​ជាក្រុម​ ដោយជួយ​ពន្យឺត​ការចម្លងជំងឺ​ក្នុងសហគមន៍​</a:t>
            </a:r>
            <a:r>
              <a:rPr lang="km-KH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។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km-KH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កុមារ​អាច​នឹង​មាន​ផល​រំខាន​មួយចំនួន​ពី​វ៉ាក់សាំង​</a:t>
            </a:r>
            <a:r>
              <a:rPr lang="km-KH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ដូចគ្នាទៅនឹង​ផលរំខានដែលមានលើ​មនុស្ស​ពេញវ័យ និង​ជាមួយវ៉ាក់សាក់សាំង​ប្រភេទ​ផ្សេងដែរ​។ ទាំងនេះ​គឺជា​សញ្ញា​បង្ហាញថា​ រាងកាយរបស់ពួកគេ​កំពុង​បង្កើតការការពារ​ ប៉ុន្តែផលរំខានទាំងនេះ​នឹង​បាត់ទៅវិញ​ក្នុងរយៈពេល​ពីរឬបីថ្ងៃ​។</a:t>
            </a:r>
            <a:b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20</a:t>
            </a:fld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955190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660"/>
              </a:lnSpc>
            </a:pPr>
            <a:r>
              <a:rPr lang="km-KH" sz="1000" b="0" dirty="0">
                <a:latin typeface="Kh Content" panose="02000500000000020004" pitchFamily="2" charset="0"/>
                <a:cs typeface="Kh Content" panose="02000500000000020004" pitchFamily="2" charset="0"/>
              </a:rPr>
              <a:t>សម្គាល់៖</a:t>
            </a:r>
          </a:p>
          <a:p>
            <a:pPr>
              <a:lnSpc>
                <a:spcPts val="1660"/>
              </a:lnSpc>
            </a:pPr>
            <a:endParaRPr lang="km-KH" sz="1000" b="1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>
              <a:lnSpc>
                <a:spcPts val="1660"/>
              </a:lnSpc>
            </a:pPr>
            <a:r>
              <a:rPr lang="fr-CA" sz="1000" b="1" dirty="0" err="1">
                <a:latin typeface="Kh Content" panose="02000500000000020004" pitchFamily="2" charset="0"/>
                <a:cs typeface="Kh Content" panose="02000500000000020004" pitchFamily="2" charset="0"/>
              </a:rPr>
              <a:t>ទេ</a:t>
            </a:r>
            <a:r>
              <a:rPr lang="fr-CA" sz="1000" b="1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៉ាក់ស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ឹងមិនផ្លាស់ប្ដូរ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ឬប្រទូស្ដប្រទាំងជាមួយ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ភិនភាគនៃសាច់សាលោហិត </a:t>
            </a:r>
            <a:r>
              <a:rPr lang="km-KH" dirty="0"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fr-CA" dirty="0" err="1">
                <a:latin typeface="Calibri" panose="020F0502020204030204" pitchFamily="34" charset="0"/>
                <a:cs typeface="Calibri" panose="020F0502020204030204" pitchFamily="34" charset="0"/>
              </a:rPr>
              <a:t>Deoxyribonucleic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 Acid, DNA)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របស់អ្នកក្នុងរបៀបអ្វីមួយឡើយ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</a:p>
          <a:p>
            <a:pPr>
              <a:lnSpc>
                <a:spcPts val="1660"/>
              </a:lnSpc>
            </a:pP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 </a:t>
            </a:r>
          </a:p>
          <a:p>
            <a:pPr>
              <a:lnSpc>
                <a:spcPts val="1660"/>
              </a:lnSpc>
            </a:pP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៉ាក់សាំងបង្រៀនប្រព័ន្ធស៊ាំរោគរបស់អ្ន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ពីរបៀបប្រយុទ្ធ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្រឆាំងនឹងវីរុសជាក់លា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់។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ាធ្វើការជាមួយ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្រព័ន្ធការពារខ្លួនជាធម្មជាតិរបស់ខ្លួនអ្ន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ើម្បីបង្កើត</a:t>
            </a: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ភាពស៊ាំនឹងជំងឺ ដោយសុវត្ថិភាព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 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ើម្បីធ្វើការងាររបស់វា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៉ាក់ស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ិនត្រូវការចូលទៅខាងក្នុងស្នូលនៃកោសិកា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ែលជាកន្លែ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DNA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របស់យើងបានទុកទេ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េះមានសេចក្ដីថា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៉ាក់សាំងមិនដែលប្រទូស្ដប្រទ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ជាមួយ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DNA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របស់អ្ន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្នុងរបៀបអ្វីមួយ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ក៏គ្មានផ្លូវផ្លាស់ប្តូរវាឡើយ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</a:p>
          <a:p>
            <a:pPr>
              <a:lnSpc>
                <a:spcPts val="1660"/>
              </a:lnSpc>
            </a:pP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 </a:t>
            </a:r>
          </a:p>
          <a:p>
            <a:pPr>
              <a:lnSpc>
                <a:spcPts val="1660"/>
              </a:lnSpc>
            </a:pP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ៅចុងបញ្ចប់នៃដំណើរការ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ខ្លួន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របស់យើ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ានរៀនរបៀប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ើម្បីការពារប្រឆាំងនឹងការឆ្លងជំងឺ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ៅពេលអនាគត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ការតបឆ្លើយនឹងប្រព័ន្ធស៊ាំ​រោគនោះ និងការ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ធ្វើអង្គបដិបក្ខប្រាណ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គឺជាអ្វីៗដែលការពារយើ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ពីការបានឆ្លងជំងឺបើសិនរីរុសពិត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ចូលទៅ</a:t>
            </a: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ខ្លួន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របស់យើ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</a:p>
          <a:p>
            <a:pPr>
              <a:lnSpc>
                <a:spcPts val="1660"/>
              </a:lnSpc>
            </a:pP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(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្រភព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៖ </a:t>
            </a:r>
            <a:r>
              <a:rPr lang="fr-CA" u="sng" dirty="0">
                <a:solidFill>
                  <a:schemeClr val="accent2">
                    <a:lumMod val="60000"/>
                    <a:lumOff val="4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s://www.cdc.gov/coronavirus/2019-ncov/vaccines/facts.html</a:t>
            </a:r>
            <a:r>
              <a:rPr lang="fr-CA" u="sng" dirty="0">
                <a:latin typeface="Calibri" panose="020F0502020204030204" pitchFamily="34" charset="0"/>
                <a:cs typeface="Calibri" panose="020F0502020204030204" pitchFamily="34" charset="0"/>
              </a:rPr>
              <a:t>)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21</a:t>
            </a:fld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00301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km-KH" sz="1200" u="none" dirty="0">
                <a:solidFill>
                  <a:srgbClr val="0000FF"/>
                </a:solidFill>
                <a:effectLst/>
                <a:latin typeface="Kh Content" panose="020B0604020202020204" charset="0"/>
                <a:ea typeface="Calibri" panose="020F0502020204030204" pitchFamily="34" charset="0"/>
                <a:cs typeface="Kh Content" panose="020B0604020202020204" charset="0"/>
              </a:rPr>
              <a:t>សម្គាល់៖</a:t>
            </a:r>
          </a:p>
          <a:p>
            <a:pPr marL="0" marR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200" u="none" dirty="0">
                <a:solidFill>
                  <a:srgbClr val="0000FF"/>
                </a:solidFill>
                <a:effectLst/>
                <a:latin typeface="Kh Content" panose="020B0604020202020204" charset="0"/>
                <a:ea typeface="Calibri" panose="020F0502020204030204" pitchFamily="34" charset="0"/>
                <a:cs typeface="Kh Content" panose="020B0604020202020204" charset="0"/>
              </a:rPr>
              <a:t> </a:t>
            </a:r>
            <a:endParaRPr lang="en-US" sz="1200" u="none" dirty="0">
              <a:effectLst/>
              <a:latin typeface="Kh Content" panose="020B0604020202020204" charset="0"/>
              <a:ea typeface="Times New Roman" panose="02020603050405020304" pitchFamily="18" charset="0"/>
              <a:cs typeface="Kh Content" panose="020B0604020202020204" charset="0"/>
            </a:endParaRPr>
          </a:p>
          <a:p>
            <a:pPr marL="342900" marR="0" lvl="0" indent="-3429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200" u="none" dirty="0">
                <a:solidFill>
                  <a:srgbClr val="0000FF"/>
                </a:solidFill>
                <a:effectLst/>
                <a:latin typeface="Kh Content" panose="020B0604020202020204" charset="0"/>
                <a:ea typeface="Calibri" panose="020F0502020204030204" pitchFamily="34" charset="0"/>
                <a:cs typeface="Kh Content" panose="020B0604020202020204" charset="0"/>
              </a:rPr>
              <a:t>CDC </a:t>
            </a:r>
            <a:r>
              <a:rPr lang="km-KH" sz="1200" u="none" dirty="0">
                <a:solidFill>
                  <a:srgbClr val="0000FF"/>
                </a:solidFill>
                <a:effectLst/>
                <a:latin typeface="Kh Content" panose="020B0604020202020204" charset="0"/>
                <a:ea typeface="Calibri" panose="020F0502020204030204" pitchFamily="34" charset="0"/>
                <a:cs typeface="Kh Content" panose="020B0604020202020204" charset="0"/>
              </a:rPr>
              <a:t>កំពុងត្រួតពិនិត្យវីរុសផ្លាស់ប្តូរ​ក្នុង​សហរដ្ឋ​អាមេរិក រួមទាំង​ការផ្លាស់ប្តូរ​ជាមួយ​នឹងវ៉ារ្យ៉ង​អូមីក្រុង​។</a:t>
            </a:r>
          </a:p>
          <a:p>
            <a:pPr marL="342900" marR="0" lvl="0" indent="-3429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km-KH" sz="1200" u="none" dirty="0">
                <a:solidFill>
                  <a:srgbClr val="0000FF"/>
                </a:solidFill>
                <a:effectLst/>
                <a:latin typeface="Kh Content" panose="020B0604020202020204" charset="0"/>
                <a:ea typeface="Calibri" panose="020F0502020204030204" pitchFamily="34" charset="0"/>
                <a:cs typeface="Kh Content" panose="020B0604020202020204" charset="0"/>
              </a:rPr>
              <a:t>អ្នកវិទ្យាសាស្ត្រកំពុងធ្វើការ​ដើម្បី​រៀន​បន្ថែមទៀត​អំពី​របៀបដែលការរីករាលដាល​ការបំប្លែង​នីមួយ ៗ ថ្វីបើ​វាអាចបណ្តាល​ឲ្យ​មាន​ការឈឺកាន់តែធ្ងន់ធ្ងរ​ និង​ថាតើវ៉ាក់សាំងដែលមាន​រួចជាស្រេច នឹងការពារ​បុគ្គលពីការបំប្លែង​កូវីដ</a:t>
            </a:r>
            <a:r>
              <a:rPr lang="en-US" sz="1200" u="none" dirty="0">
                <a:solidFill>
                  <a:srgbClr val="0000FF"/>
                </a:solidFill>
                <a:effectLst/>
                <a:latin typeface="Kh Content" panose="020B0604020202020204" charset="0"/>
                <a:ea typeface="Calibri" panose="020F0502020204030204" pitchFamily="34" charset="0"/>
                <a:cs typeface="Kh Content" panose="020B0604020202020204" charset="0"/>
              </a:rPr>
              <a:t>-19 </a:t>
            </a:r>
            <a:r>
              <a:rPr lang="km-KH" sz="1200" u="none" dirty="0">
                <a:solidFill>
                  <a:srgbClr val="0000FF"/>
                </a:solidFill>
                <a:effectLst/>
                <a:latin typeface="Kh Content" panose="020B0604020202020204" charset="0"/>
                <a:ea typeface="Calibri" panose="020F0502020204030204" pitchFamily="34" charset="0"/>
                <a:cs typeface="Kh Content" panose="020B0604020202020204" charset="0"/>
              </a:rPr>
              <a:t>ជាក់ច្បាស់នានា។</a:t>
            </a:r>
            <a:endParaRPr lang="en-US" u="none" dirty="0">
              <a:latin typeface="Kh Content" panose="020B0604020202020204" charset="0"/>
              <a:cs typeface="Kh Content" panose="020B0604020202020204" charset="0"/>
            </a:endParaRPr>
          </a:p>
          <a:p>
            <a:pPr>
              <a:lnSpc>
                <a:spcPts val="1660"/>
              </a:lnSpc>
            </a:pPr>
            <a:endParaRPr lang="fr-CA" u="sng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22</a:t>
            </a:fld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994898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km-KH" sz="1800" u="none" dirty="0">
                <a:solidFill>
                  <a:srgbClr val="0000FF"/>
                </a:solidFill>
                <a:effectLst/>
                <a:latin typeface="Kh Content" panose="020B0604020202020204" charset="0"/>
                <a:ea typeface="Calibri" panose="020F0502020204030204" pitchFamily="34" charset="0"/>
                <a:cs typeface="Kh Content" panose="020B0604020202020204" charset="0"/>
              </a:rPr>
              <a:t>សម្គាល់៖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u="none" dirty="0">
                <a:solidFill>
                  <a:srgbClr val="0000FF"/>
                </a:solidFill>
                <a:effectLst/>
                <a:latin typeface="Kh Content" panose="020B0604020202020204" charset="0"/>
                <a:ea typeface="Calibri" panose="020F0502020204030204" pitchFamily="34" charset="0"/>
                <a:cs typeface="Kh Content" panose="020B0604020202020204" charset="0"/>
              </a:rPr>
              <a:t> </a:t>
            </a:r>
            <a:endParaRPr lang="en-US" sz="1800" u="none" dirty="0">
              <a:effectLst/>
              <a:latin typeface="Kh Content" panose="020B0604020202020204" charset="0"/>
              <a:ea typeface="Times New Roman" panose="02020603050405020304" pitchFamily="18" charset="0"/>
              <a:cs typeface="Kh Content" panose="020B060402020202020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km-KH" sz="1050" u="non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អ្នកអាច​ជ្រើសយក​វ៉ាក់សាំង​ដូស​ជំរុញ​ណាមួយ​ដែលអ្នក​ចង់បាន​។</a:t>
            </a:r>
            <a:r>
              <a:rPr lang="km-KH" sz="1050" u="non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អ្នកខ្លះអាច​នឹង​ចង់បាន​ប្រភេទ​វ៉ាក់សាំង​ដែល​ពួកគេ​បាន​ទទួល​ពីមុនមក​ អ្នកខ្លះ​ទៀត​អាច​​នឹង​ចង់បាន​វ៉ាក់សាំង​ដូសជំរុញប្រភេទ​ផ្សេង។​</a:t>
            </a:r>
            <a:endParaRPr lang="en-US" sz="1050" u="non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km-KH" sz="1200" u="non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អ្នកនៅតែ​ត្រូវបានចាត់ទុកថាទទួលបានវ៉ាក់សាំង​គ្រប់ចំនួន​ ប្រសិនបើអ្នក​មិនទទួលបានការចាក់វ៉ាក់សាំង​ដូសជំរុញ​ទេ​។</a:t>
            </a:r>
            <a:endParaRPr lang="en-US" sz="1050" u="non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km-KH" sz="1200" u="non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ផលរំខានក្រោយការចាក់ដូសជំរុញ​</a:t>
            </a:r>
            <a:r>
              <a:rPr lang="km-KH" sz="1200" u="non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គឺស្រដៀងគ្នា​នឹង​ផលរំខានក្រោយ​ចាក់ដូសទីពីរដែរ​។</a:t>
            </a:r>
            <a:r>
              <a:rPr lang="en-US" sz="1200" u="non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 sz="1050" u="non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km-KH" sz="1200" u="non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អ្នកអាចទទួលបានវ៉ាក់សាំង​កូវីដ</a:t>
            </a:r>
            <a:r>
              <a:rPr lang="en-US" sz="1200" u="non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19</a:t>
            </a:r>
            <a:r>
              <a:rPr lang="km-KH" sz="1200" u="non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និង​ការចាក់វ៉ាក់សាំង​ផ្សេងទៀត​ ដូចជា​វ៉ាក់សាំង​គ្រុនផ្តាសាយ​ធំ​ឬជំងឺ​រើម</a:t>
            </a:r>
            <a:r>
              <a:rPr lang="km-KH" sz="1200" u="non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ក្នុងពេលតែមួយ​ឬក្នុងពេលជាប់ៗគ្នា​បាន​</a:t>
            </a:r>
            <a:r>
              <a:rPr lang="km-KH" sz="1200" u="non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។</a:t>
            </a:r>
            <a:endParaRPr lang="en-US" sz="1050" u="non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km-KH" sz="1200" u="non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សម្រាប់ចម្លើយ​ចំពោះសំណួរដែលសាកសួរទូទៅ​អំពី​វ៉ាក់សាំងដូសជំរុញ​</a:t>
            </a:r>
            <a:r>
              <a:rPr lang="km-KH" sz="1200" u="non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សូមចូល​ទៅកាន់៖</a:t>
            </a:r>
            <a:r>
              <a:rPr lang="en-US" sz="1200" u="non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u="non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ttps://www.mass.gov/info-details/covid-19-booster-frequently-asked-questions </a:t>
            </a:r>
            <a:endParaRPr lang="en-US" sz="1050" u="non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>
              <a:lnSpc>
                <a:spcPts val="1660"/>
              </a:lnSpc>
            </a:pPr>
            <a:endParaRPr lang="fr-CA" u="sng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23</a:t>
            </a:fld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580589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1520" y="4620577"/>
            <a:ext cx="5852160" cy="4647248"/>
          </a:xfrm>
        </p:spPr>
        <p:txBody>
          <a:bodyPr/>
          <a:lstStyle/>
          <a:p>
            <a:pPr>
              <a:lnSpc>
                <a:spcPts val="1800"/>
              </a:lnSpc>
            </a:pPr>
            <a:r>
              <a:rPr lang="km-KH" sz="1000" b="0" dirty="0">
                <a:latin typeface="Kh Content" panose="02000500000000020004" pitchFamily="2" charset="0"/>
                <a:cs typeface="Kh Content" panose="02000500000000020004" pitchFamily="2" charset="0"/>
              </a:rPr>
              <a:t>សម្គាល់៖</a:t>
            </a:r>
          </a:p>
          <a:p>
            <a:pPr>
              <a:lnSpc>
                <a:spcPts val="1800"/>
              </a:lnSpc>
            </a:pPr>
            <a:endParaRPr lang="km-KH" sz="1000" b="1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marL="171450" indent="-171450">
              <a:lnSpc>
                <a:spcPts val="1800"/>
              </a:lnSpc>
              <a:buFont typeface="Arial" panose="020B0604020202020204" pitchFamily="34" charset="0"/>
              <a:buChar char="•"/>
            </a:pPr>
            <a:r>
              <a:rPr lang="km-KH" sz="1000" b="0" dirty="0">
                <a:latin typeface="Kh Content" panose="02000500000000020004" pitchFamily="2" charset="0"/>
                <a:cs typeface="Kh Content" panose="02000500000000020004" pitchFamily="2" charset="0"/>
              </a:rPr>
              <a:t>វិធីសាស្រ្តទាំងនេះ​អនុវត្ត​ចំពោះ​បុគ្គលដែល​ស្វែងរក​ការចាក់វ៉ាក់សាំង​ដូសជំរុញ​ផងដែរ។</a:t>
            </a:r>
          </a:p>
          <a:p>
            <a:pPr marL="171450" indent="-171450">
              <a:lnSpc>
                <a:spcPts val="1800"/>
              </a:lnSpc>
              <a:buFont typeface="Arial" panose="020B0604020202020204" pitchFamily="34" charset="0"/>
              <a:buChar char="•"/>
            </a:pP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ខ្សែធនធានការគ្រោងពេល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គឺសំរាប់មនុស្សដែលមិនអាចប្រើអន្ដរបណ្ដាញប៉ុណ្ណោះ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ាមានជា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100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ភាសា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្នកតំណាងអាចធ្វើការណាត់ជួប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ូចគ្នានៅលើគេហទំព័រសាធារណៈ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  <a:r>
              <a:rPr lang="km-KH" sz="1000" baseline="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ម៉ោងធ្វើការរបស់គេគឺ៖ ថ្ងៃចន្ទ</a:t>
            </a:r>
            <a:r>
              <a:rPr lang="en-US" sz="1000" dirty="0">
                <a:latin typeface="Kh Content" panose="02000500000000020004" pitchFamily="2" charset="0"/>
                <a:cs typeface="Kh Content" panose="02000500000000020004" pitchFamily="2" charset="0"/>
              </a:rPr>
              <a:t>-</a:t>
            </a: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ថ្ងៃប្រហស្បតិ៍ពីម៉ោង </a:t>
            </a:r>
            <a:r>
              <a:rPr lang="en-US" sz="1000" dirty="0">
                <a:latin typeface="Kh Content" panose="02000500000000020004" pitchFamily="2" charset="0"/>
                <a:cs typeface="Kh Content" panose="02000500000000020004" pitchFamily="2" charset="0"/>
              </a:rPr>
              <a:t>8:30</a:t>
            </a: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ព្រឹក រហូតដល់ម៉ោង </a:t>
            </a:r>
            <a:r>
              <a:rPr lang="en-US" sz="1000" dirty="0">
                <a:latin typeface="Kh Content" panose="02000500000000020004" pitchFamily="2" charset="0"/>
                <a:cs typeface="Kh Content" panose="02000500000000020004" pitchFamily="2" charset="0"/>
              </a:rPr>
              <a:t>8</a:t>
            </a: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យប់ និងថ្ងៃសុក្រ</a:t>
            </a:r>
            <a:r>
              <a:rPr lang="en-US" sz="1000" dirty="0">
                <a:latin typeface="Kh Content" panose="02000500000000020004" pitchFamily="2" charset="0"/>
                <a:cs typeface="Kh Content" panose="02000500000000020004" pitchFamily="2" charset="0"/>
              </a:rPr>
              <a:t>-</a:t>
            </a: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ថ្ងៃអាទិត្យ ពីម៉ោង </a:t>
            </a:r>
            <a:r>
              <a:rPr lang="en-US" sz="1000" dirty="0">
                <a:latin typeface="Kh Content" panose="02000500000000020004" pitchFamily="2" charset="0"/>
                <a:cs typeface="Kh Content" panose="02000500000000020004" pitchFamily="2" charset="0"/>
              </a:rPr>
              <a:t>8:30</a:t>
            </a: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ព្រឹក រហូតដល់ម៉ោង </a:t>
            </a:r>
            <a:r>
              <a:rPr lang="en-US" sz="1000" dirty="0">
                <a:latin typeface="Kh Content" panose="02000500000000020004" pitchFamily="2" charset="0"/>
                <a:cs typeface="Kh Content" panose="02000500000000020004" pitchFamily="2" charset="0"/>
              </a:rPr>
              <a:t>5</a:t>
            </a: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ល្ងាច </a:t>
            </a:r>
            <a:endParaRPr lang="fr-CA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>
              <a:lnSpc>
                <a:spcPts val="1660"/>
              </a:lnSpc>
              <a:spcAft>
                <a:spcPts val="830"/>
              </a:spcAft>
            </a:pPr>
            <a:endParaRPr lang="en-US" sz="1000" dirty="0">
              <a:latin typeface="Kh Content" panose="02000500000000020004" pitchFamily="2" charset="0"/>
              <a:ea typeface="Calibri" panose="020F0502020204030204" pitchFamily="34" charset="0"/>
              <a:cs typeface="Kh Content" panose="02000500000000020004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1AA723-8E7C-466C-9B48-1A291385479A}" type="slidenum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24</a:t>
            </a:fld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499809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km-KH" sz="1800" dirty="0">
                <a:effectLst/>
                <a:latin typeface="Kh Content" panose="020B0604020202020204" charset="0"/>
                <a:ea typeface="Times New Roman" panose="02020603050405020304" pitchFamily="18" charset="0"/>
                <a:cs typeface="Kh Content" panose="020B0604020202020204" charset="0"/>
              </a:rPr>
              <a:t>សម្គាល់៖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800" dirty="0">
              <a:effectLst/>
              <a:latin typeface="Kh Content" panose="020B0604020202020204" charset="0"/>
              <a:ea typeface="Times New Roman" panose="02020603050405020304" pitchFamily="18" charset="0"/>
              <a:cs typeface="Kh Content" panose="020B060402020202020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km-KH" sz="1800" dirty="0">
                <a:effectLst/>
                <a:latin typeface="Kh Content" panose="020B0604020202020204" charset="0"/>
                <a:ea typeface="Times New Roman" panose="02020603050405020304" pitchFamily="18" charset="0"/>
                <a:cs typeface="Kh Content" panose="020B0604020202020204" charset="0"/>
              </a:rPr>
              <a:t>បណ្តាញកម្មវិធីប្រមូលព័ត៌មានឈ្មោះ </a:t>
            </a:r>
            <a:r>
              <a:rPr lang="en-US" sz="1800" dirty="0">
                <a:effectLst/>
                <a:latin typeface="Kh Content" panose="020B0604020202020204" charset="0"/>
                <a:ea typeface="Times New Roman" panose="02020603050405020304" pitchFamily="18" charset="0"/>
                <a:cs typeface="Kh Content" panose="020B0604020202020204" charset="0"/>
              </a:rPr>
              <a:t>In-Home Program </a:t>
            </a:r>
            <a:r>
              <a:rPr lang="km-KH" sz="1800" dirty="0">
                <a:effectLst/>
                <a:latin typeface="Kh Content" panose="020B0604020202020204" charset="0"/>
                <a:ea typeface="Times New Roman" panose="02020603050405020304" pitchFamily="18" charset="0"/>
                <a:cs typeface="Kh Content" panose="020B0604020202020204" charset="0"/>
              </a:rPr>
              <a:t>មានដំណើរការថ្ងៃចន្ទ រហូតដល់ថ្ងៃសុក្រ​ពី​ម៉ោង </a:t>
            </a:r>
            <a:r>
              <a:rPr lang="en-US" sz="1800" dirty="0">
                <a:effectLst/>
                <a:latin typeface="Kh Content" panose="020B0604020202020204" charset="0"/>
                <a:ea typeface="Times New Roman" panose="02020603050405020304" pitchFamily="18" charset="0"/>
                <a:cs typeface="Kh Content" panose="020B0604020202020204" charset="0"/>
              </a:rPr>
              <a:t>9 </a:t>
            </a:r>
            <a:r>
              <a:rPr lang="km-KH" sz="1800" dirty="0">
                <a:effectLst/>
                <a:latin typeface="Kh Content" panose="020B0604020202020204" charset="0"/>
                <a:ea typeface="Times New Roman" panose="02020603050405020304" pitchFamily="18" charset="0"/>
                <a:cs typeface="Kh Content" panose="020B0604020202020204" charset="0"/>
              </a:rPr>
              <a:t>ព្រឹករហូតដល់ម៉ោង</a:t>
            </a:r>
            <a:r>
              <a:rPr lang="en-US" sz="1800" dirty="0">
                <a:effectLst/>
                <a:latin typeface="Kh Content" panose="020B0604020202020204" charset="0"/>
                <a:ea typeface="Times New Roman" panose="02020603050405020304" pitchFamily="18" charset="0"/>
                <a:cs typeface="Kh Content" panose="020B0604020202020204" charset="0"/>
              </a:rPr>
              <a:t> 5 </a:t>
            </a:r>
            <a:r>
              <a:rPr lang="km-KH" sz="1800" dirty="0">
                <a:effectLst/>
                <a:latin typeface="Kh Content" panose="020B0604020202020204" charset="0"/>
                <a:ea typeface="Times New Roman" panose="02020603050405020304" pitchFamily="18" charset="0"/>
                <a:cs typeface="Kh Content" panose="020B0604020202020204" charset="0"/>
              </a:rPr>
              <a:t>ល្ងាច​ហើយ​មាន​អ្នកតំណាងដែលនិយាយភាសាអង់គ្លេស និងអេស្បាញ ក៏​មាន​អ្នកបកប្រែ​ក្នុងចំនួនច្រើនជាង </a:t>
            </a:r>
            <a:r>
              <a:rPr lang="en-US" sz="1800" dirty="0">
                <a:effectLst/>
                <a:latin typeface="Kh Content" panose="020B0604020202020204" charset="0"/>
                <a:ea typeface="Times New Roman" panose="02020603050405020304" pitchFamily="18" charset="0"/>
                <a:cs typeface="Kh Content" panose="020B0604020202020204" charset="0"/>
              </a:rPr>
              <a:t>100+ </a:t>
            </a:r>
            <a:r>
              <a:rPr lang="km-KH" sz="1800" dirty="0">
                <a:effectLst/>
                <a:latin typeface="Kh Content" panose="020B0604020202020204" charset="0"/>
                <a:ea typeface="Times New Roman" panose="02020603050405020304" pitchFamily="18" charset="0"/>
                <a:cs typeface="Kh Content" panose="020B0604020202020204" charset="0"/>
              </a:rPr>
              <a:t>ភាសា ។</a:t>
            </a:r>
            <a:endParaRPr lang="en-US" sz="1800" dirty="0">
              <a:effectLst/>
              <a:latin typeface="Kh Content" panose="020B0604020202020204" charset="0"/>
              <a:ea typeface="Times New Roman" panose="02020603050405020304" pitchFamily="18" charset="0"/>
              <a:cs typeface="Kh Content" panose="020B060402020202020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effectLst/>
                <a:latin typeface="Kh Content" panose="020B0604020202020204" charset="0"/>
                <a:ea typeface="Times New Roman" panose="02020603050405020304" pitchFamily="18" charset="0"/>
                <a:cs typeface="Kh Content" panose="020B0604020202020204" charset="0"/>
              </a:rPr>
              <a:t> 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km-KH" sz="1800" dirty="0">
                <a:effectLst/>
                <a:latin typeface="Kh Content" panose="020B0604020202020204" charset="0"/>
                <a:ea typeface="Times New Roman" panose="02020603050405020304" pitchFamily="18" charset="0"/>
                <a:cs typeface="Kh Content" panose="020B0604020202020204" charset="0"/>
              </a:rPr>
              <a:t>នៅពេលអ្នកចុះឈ្មោះជាមួយកម្មវិធី </a:t>
            </a:r>
            <a:r>
              <a:rPr lang="en-US" sz="1800" dirty="0">
                <a:effectLst/>
                <a:latin typeface="Kh Content" panose="020B0604020202020204" charset="0"/>
                <a:ea typeface="Times New Roman" panose="02020603050405020304" pitchFamily="18" charset="0"/>
                <a:cs typeface="Kh Content" panose="020B0604020202020204" charset="0"/>
              </a:rPr>
              <a:t>In-Home Program</a:t>
            </a:r>
            <a:r>
              <a:rPr lang="km-KH" sz="1800" dirty="0">
                <a:effectLst/>
                <a:latin typeface="Kh Content" panose="020B0604020202020204" charset="0"/>
                <a:ea typeface="Times New Roman" panose="02020603050405020304" pitchFamily="18" charset="0"/>
                <a:cs typeface="Kh Content" panose="020B0604020202020204" charset="0"/>
              </a:rPr>
              <a:t> ជាទូទៅ​អ្នក​នឹងត្រូវមានគេទូរស័ព្ទក្នុង​កំឡុង​ពេល </a:t>
            </a:r>
            <a:r>
              <a:rPr lang="en-US" sz="1800" dirty="0">
                <a:effectLst/>
                <a:latin typeface="Kh Content" panose="020B0604020202020204" charset="0"/>
                <a:ea typeface="Times New Roman" panose="02020603050405020304" pitchFamily="18" charset="0"/>
                <a:cs typeface="Kh Content" panose="020B0604020202020204" charset="0"/>
              </a:rPr>
              <a:t>5 </a:t>
            </a:r>
            <a:r>
              <a:rPr lang="km-KH" sz="1800" dirty="0">
                <a:effectLst/>
                <a:latin typeface="Kh Content" panose="020B0604020202020204" charset="0"/>
                <a:ea typeface="Times New Roman" panose="02020603050405020304" pitchFamily="18" charset="0"/>
                <a:cs typeface="Kh Content" panose="020B0604020202020204" charset="0"/>
              </a:rPr>
              <a:t>ថ្ងៃធ្វើការ​ដើម្បី​ដាក់ការណាត់ជួប ។  ការចាក់ថ្នាំវ៉ាក់សាំងក្នុងផ្ទះ​នឹង៖</a:t>
            </a:r>
            <a:endParaRPr lang="en-US" sz="1800" dirty="0">
              <a:effectLst/>
              <a:latin typeface="Kh Content" panose="020B0604020202020204" charset="0"/>
              <a:ea typeface="Times New Roman" panose="02020603050405020304" pitchFamily="18" charset="0"/>
              <a:cs typeface="Kh Content" panose="020B0604020202020204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km-KH" sz="1800" dirty="0">
                <a:effectLst/>
                <a:latin typeface="Kh Content" panose="020B0604020202020204" charset="0"/>
                <a:ea typeface="Times New Roman" panose="02020603050405020304" pitchFamily="18" charset="0"/>
                <a:cs typeface="Kh Content" panose="020B0604020202020204" charset="0"/>
              </a:rPr>
              <a:t>ត្រូវបាន​ធ្វើឡើងដោយ​អ្នកវិជ្ជាជីវៈវេជ្ជសាស្ត្រ អនុវត្តតាម​ការណែនាំសុខភាពសាធារណៈទាំងអស់</a:t>
            </a:r>
            <a:endParaRPr lang="en-US" sz="1800" dirty="0">
              <a:effectLst/>
              <a:latin typeface="Kh Content" panose="020B0604020202020204" charset="0"/>
              <a:ea typeface="Times New Roman" panose="02020603050405020304" pitchFamily="18" charset="0"/>
              <a:cs typeface="Kh Content" panose="020B0604020202020204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km-KH" sz="1800" dirty="0">
                <a:effectLst/>
                <a:latin typeface="Kh Content" panose="020B0604020202020204" charset="0"/>
                <a:ea typeface="Times New Roman" panose="02020603050405020304" pitchFamily="18" charset="0"/>
                <a:cs typeface="Kh Content" panose="020B0604020202020204" charset="0"/>
              </a:rPr>
              <a:t>បានកែសម្រួលដើម្បីឲ្យសមស្រប​នឹងតម្រូវការបុគ្គល​ ជាប់ក្នុងផ្ទះ ដូចបានពិភាក្សាក្នុងការទូរស័ព្ទណាត់ពេលជួប</a:t>
            </a:r>
            <a:endParaRPr lang="en-US" sz="1800" dirty="0">
              <a:effectLst/>
              <a:latin typeface="Kh Content" panose="020B0604020202020204" charset="0"/>
              <a:ea typeface="Times New Roman" panose="02020603050405020304" pitchFamily="18" charset="0"/>
              <a:cs typeface="Kh Content" panose="020B0604020202020204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km-KH" sz="1800" dirty="0">
                <a:effectLst/>
                <a:latin typeface="Kh Content" panose="020B0604020202020204" charset="0"/>
                <a:ea typeface="Times New Roman" panose="02020603050405020304" pitchFamily="18" charset="0"/>
                <a:cs typeface="Kh Content" panose="020B0604020202020204" charset="0"/>
              </a:rPr>
              <a:t>បានដាក់ពេលជួប​ស្របតាមភូមិសាស្ត្រនៃបុគ្គលដែលជាប់ក្នុងផ្ទះ មិនស្របតាមមូលដ្ឋាន​ថាអ្នក​មក​មុន​និងត្រូវបានគេបម្រើមុន​ទេ</a:t>
            </a:r>
            <a:endParaRPr lang="en-US" sz="1800" dirty="0">
              <a:effectLst/>
              <a:latin typeface="Kh Content" panose="020B0604020202020204" charset="0"/>
              <a:ea typeface="Times New Roman" panose="02020603050405020304" pitchFamily="18" charset="0"/>
              <a:cs typeface="Kh Content" panose="020B0604020202020204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km-KH" sz="1800" dirty="0">
                <a:effectLst/>
                <a:latin typeface="Kh Content" panose="020B0604020202020204" charset="0"/>
                <a:ea typeface="Times New Roman" panose="02020603050405020304" pitchFamily="18" charset="0"/>
                <a:cs typeface="Kh Content" panose="020B0604020202020204" charset="0"/>
              </a:rPr>
              <a:t>បានផ្តល់វ៉ាក់សាំង </a:t>
            </a:r>
            <a:r>
              <a:rPr lang="en-US" sz="1800" dirty="0">
                <a:effectLst/>
                <a:latin typeface="Kh Content" panose="020B0604020202020204" charset="0"/>
                <a:ea typeface="Times New Roman" panose="02020603050405020304" pitchFamily="18" charset="0"/>
                <a:cs typeface="Kh Content" panose="020B0604020202020204" charset="0"/>
              </a:rPr>
              <a:t>Johnson &amp; Johnson </a:t>
            </a:r>
            <a:r>
              <a:rPr lang="km-KH" sz="1800" dirty="0">
                <a:effectLst/>
                <a:latin typeface="Kh Content" panose="020B0604020202020204" charset="0"/>
                <a:ea typeface="Times New Roman" panose="02020603050405020304" pitchFamily="18" charset="0"/>
                <a:cs typeface="Kh Content" panose="020B0604020202020204" charset="0"/>
              </a:rPr>
              <a:t>តែមួយដូស</a:t>
            </a:r>
            <a:r>
              <a:rPr lang="en-US" sz="1800" dirty="0">
                <a:effectLst/>
                <a:latin typeface="Kh Content" panose="020B0604020202020204" charset="0"/>
                <a:ea typeface="Times New Roman" panose="02020603050405020304" pitchFamily="18" charset="0"/>
                <a:cs typeface="Kh Content" panose="020B0604020202020204" charset="0"/>
              </a:rPr>
              <a:t> </a:t>
            </a:r>
            <a:r>
              <a:rPr lang="km-KH" sz="1800" dirty="0">
                <a:effectLst/>
                <a:latin typeface="Kh Content" panose="020B0604020202020204" charset="0"/>
                <a:ea typeface="Times New Roman" panose="02020603050405020304" pitchFamily="18" charset="0"/>
                <a:cs typeface="Kh Content" panose="020B0604020202020204" charset="0"/>
              </a:rPr>
              <a:t>ដែលងាយស្រួលនឹងដឹកជញ្ជូន ហើយតម្រូវតែការណាត់ជួបតែមួយប៉ុណ្ណោះ</a:t>
            </a:r>
            <a:endParaRPr lang="en-US" sz="1800" dirty="0">
              <a:effectLst/>
              <a:latin typeface="Kh Content" panose="020B0604020202020204" charset="0"/>
              <a:ea typeface="Times New Roman" panose="02020603050405020304" pitchFamily="18" charset="0"/>
              <a:cs typeface="Kh Content" panose="020B0604020202020204" charset="0"/>
            </a:endParaRPr>
          </a:p>
          <a:p>
            <a:endParaRPr lang="km-KH" sz="1800" dirty="0">
              <a:effectLst/>
              <a:latin typeface="Kh Content" panose="020B0604020202020204" charset="0"/>
              <a:ea typeface="Times New Roman" panose="02020603050405020304" pitchFamily="18" charset="0"/>
              <a:cs typeface="Kh Content" panose="020B0604020202020204" charset="0"/>
            </a:endParaRP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km-KH" sz="1800" dirty="0">
                <a:effectLst/>
                <a:latin typeface="Kh Content" panose="020B0604020202020204" charset="0"/>
                <a:ea typeface="Times New Roman" panose="02020603050405020304" pitchFamily="18" charset="0"/>
                <a:cs typeface="Kh Content" panose="020B0604020202020204" charset="0"/>
              </a:rPr>
              <a:t>បុគ្គលមានអាយុ </a:t>
            </a:r>
            <a:r>
              <a:rPr lang="en-US" sz="1800" dirty="0">
                <a:effectLst/>
                <a:latin typeface="Kh Content" panose="020B0604020202020204" charset="0"/>
                <a:ea typeface="Times New Roman" panose="02020603050405020304" pitchFamily="18" charset="0"/>
                <a:cs typeface="Kh Content" panose="020B0604020202020204" charset="0"/>
              </a:rPr>
              <a:t>12-17 </a:t>
            </a:r>
            <a:r>
              <a:rPr lang="km-KH" sz="1800" dirty="0">
                <a:effectLst/>
                <a:latin typeface="Kh Content" panose="020B0604020202020204" charset="0"/>
                <a:ea typeface="Times New Roman" panose="02020603050405020304" pitchFamily="18" charset="0"/>
                <a:cs typeface="Kh Content" panose="020B0604020202020204" charset="0"/>
              </a:rPr>
              <a:t>ឆ្នាំ​នឹងត្រូវបានផ្តល់វ៉ាក់សាំង </a:t>
            </a:r>
            <a:r>
              <a:rPr lang="en-US" sz="1800" dirty="0">
                <a:effectLst/>
                <a:latin typeface="Kh Content" panose="020B0604020202020204" charset="0"/>
                <a:ea typeface="Times New Roman" panose="02020603050405020304" pitchFamily="18" charset="0"/>
                <a:cs typeface="Kh Content" panose="020B0604020202020204" charset="0"/>
              </a:rPr>
              <a:t>Pfizer</a:t>
            </a:r>
            <a:endParaRPr lang="km-KH" sz="1800" dirty="0">
              <a:effectLst/>
              <a:latin typeface="Kh Content" panose="020B0604020202020204" charset="0"/>
              <a:ea typeface="Times New Roman" panose="02020603050405020304" pitchFamily="18" charset="0"/>
              <a:cs typeface="Kh Content" panose="020B0604020202020204" charset="0"/>
            </a:endParaRPr>
          </a:p>
          <a:p>
            <a:endParaRPr lang="km-KH" sz="1800" dirty="0">
              <a:effectLst/>
              <a:latin typeface="Calibri" panose="020F0502020204030204" pitchFamily="34" charset="0"/>
              <a:cs typeface="Kh Content" panose="02000500000000020004" pitchFamily="2" charset="0"/>
            </a:endParaRPr>
          </a:p>
          <a:p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ាររ៉ាប់រងយានជំនិះ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ssHealth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ញ្ចូលនូវមនុស្សដែលមាន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 err="1">
                <a:latin typeface="Calibri" panose="020F0502020204030204" pitchFamily="34" charset="0"/>
                <a:cs typeface="Calibri" panose="020F0502020204030204" pitchFamily="34" charset="0"/>
              </a:rPr>
              <a:t>MassHealth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 Limited, </a:t>
            </a:r>
            <a:r>
              <a:rPr lang="fr-CA" dirty="0" err="1">
                <a:latin typeface="Calibri" panose="020F0502020204030204" pitchFamily="34" charset="0"/>
                <a:cs typeface="Calibri" panose="020F0502020204030204" pitchFamily="34" charset="0"/>
              </a:rPr>
              <a:t>Children’s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CA" dirty="0" err="1">
                <a:latin typeface="Calibri" panose="020F0502020204030204" pitchFamily="34" charset="0"/>
                <a:cs typeface="Calibri" panose="020F0502020204030204" pitchFamily="34" charset="0"/>
              </a:rPr>
              <a:t>Medical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 Securit</a:t>
            </a:r>
            <a:r>
              <a:rPr lang="km-KH" dirty="0">
                <a:latin typeface="Calibri" panose="020F0502020204030204" pitchFamily="34" charset="0"/>
                <a:cs typeface="Calibri" panose="020F0502020204030204" pitchFamily="34" charset="0"/>
              </a:rPr>
              <a:t>​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y Program (CMSP)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 err="1">
                <a:latin typeface="Calibri" panose="020F0502020204030204" pitchFamily="34" charset="0"/>
                <a:cs typeface="Calibri" panose="020F0502020204030204" pitchFamily="34" charset="0"/>
              </a:rPr>
              <a:t>MassHealth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 Family Assistance (FA)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 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ជាបន្ថែមទៀត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មាជិកអាចស្នើសុំ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េវា</a:t>
            </a: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​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យានជំនិះដោយផ្ទាល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តាមរយៈសេវាអតិថិជនរបស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dirty="0" err="1">
                <a:latin typeface="Calibri" panose="020F0502020204030204" pitchFamily="34" charset="0"/>
                <a:cs typeface="Calibri" panose="020F0502020204030204" pitchFamily="34" charset="0"/>
              </a:rPr>
              <a:t>MassHealth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ជាជាងត្រូវការស្នើសុំសេវា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តាមរយៈអ្នកផ្ដល់ការថែទាំសុខភាព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</a:p>
          <a:p>
            <a:pPr defTabSz="948507">
              <a:lnSpc>
                <a:spcPts val="1800"/>
              </a:lnSpc>
              <a:spcAft>
                <a:spcPts val="830"/>
              </a:spcAft>
              <a:defRPr/>
            </a:pPr>
            <a:endParaRPr lang="en-US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defTabSz="948507">
              <a:lnSpc>
                <a:spcPts val="1800"/>
              </a:lnSpc>
              <a:spcAft>
                <a:spcPts val="830"/>
              </a:spcAft>
              <a:defRPr/>
            </a:pP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៏មានអង្គការតាមសហគមន៍ជាច្រើនដែរ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ូចជា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 err="1">
                <a:latin typeface="Calibri" panose="020F0502020204030204" pitchFamily="34" charset="0"/>
                <a:cs typeface="Calibri" panose="020F0502020204030204" pitchFamily="34" charset="0"/>
              </a:rPr>
              <a:t>Aging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 Services Access Point (ASAP)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Council on </a:t>
            </a:r>
            <a:r>
              <a:rPr lang="fr-CA" dirty="0" err="1">
                <a:latin typeface="Calibri" panose="020F0502020204030204" pitchFamily="34" charset="0"/>
                <a:cs typeface="Calibri" panose="020F0502020204030204" pitchFamily="34" charset="0"/>
              </a:rPr>
              <a:t>Aging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 (COA)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ែលអាចជួយអ្ន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្នុងការរកយានជំនិះ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  </a:t>
            </a:r>
          </a:p>
          <a:p>
            <a:pPr>
              <a:lnSpc>
                <a:spcPts val="1800"/>
              </a:lnSpc>
              <a:spcAft>
                <a:spcPts val="830"/>
              </a:spcAft>
            </a:pPr>
            <a:endParaRPr lang="en-US" sz="1000" dirty="0">
              <a:latin typeface="Kh Content" panose="02000500000000020004" pitchFamily="2" charset="0"/>
              <a:ea typeface="Calibri" panose="020F0502020204030204" pitchFamily="34" charset="0"/>
              <a:cs typeface="Kh Content" panose="02000500000000020004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1AA723-8E7C-466C-9B48-1A291385479A}" type="slidenum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25</a:t>
            </a:fld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785633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8507">
              <a:lnSpc>
                <a:spcPts val="1800"/>
              </a:lnSpc>
              <a:defRPr/>
            </a:pP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សម្គាល់៖</a:t>
            </a:r>
          </a:p>
          <a:p>
            <a:pPr defTabSz="948507">
              <a:lnSpc>
                <a:spcPts val="1800"/>
              </a:lnSpc>
              <a:defRPr/>
            </a:pPr>
            <a:endParaRPr lang="km-KH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defTabSz="948507">
              <a:lnSpc>
                <a:spcPts val="1800"/>
              </a:lnSpc>
              <a:defRPr/>
            </a:pP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ារធានារ៉ាប់រងសុខភាព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(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រួមទ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Medicare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Medicaid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)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ឹងរ៉ាប់រ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តម្លៃនៃការចាក់វ៉ាក់ស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 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យកប័ណ្ណធានារ៉ាប់រងសុខភាពរបស់អ្ន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ើសិនអ្នកមានមួយ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្រុមហ៊ុនធានារ៉ាប់រងរបស់អ្ន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ឹងត្រូវបានចេញវិក្កយប័ត្រឲ្យ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ោយឥតអស់ថ្លៃដល់អ្ន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</a:p>
          <a:p>
            <a:pPr defTabSz="948507">
              <a:lnSpc>
                <a:spcPts val="1800"/>
              </a:lnSpc>
              <a:defRPr/>
            </a:pPr>
            <a:endParaRPr lang="en-US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defTabSz="948507">
              <a:lnSpc>
                <a:spcPts val="1800"/>
              </a:lnSpc>
              <a:defRPr/>
            </a:pP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្នកផ្ដល់ការថែទាំសុខភាពរបស់អ្ន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៏អាចនឹងបានសងប្រា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ពីរដ្ឋាភិបាលសហព័ន្ធដែរ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ំរាប់តម្លៃនៃការចាក់វ៉ាក់ស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ឲ្យជនអន្ដោប្រវេសន៍គ្មានឯកសារ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26</a:t>
            </a:fld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605983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8507">
              <a:lnSpc>
                <a:spcPts val="1800"/>
              </a:lnSpc>
              <a:defRPr/>
            </a:pP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សម្គាល់៖</a:t>
            </a:r>
          </a:p>
          <a:p>
            <a:pPr defTabSz="948507">
              <a:lnSpc>
                <a:spcPts val="1800"/>
              </a:lnSpc>
              <a:defRPr/>
            </a:pPr>
            <a:endParaRPr lang="km-KH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defTabSz="948507">
              <a:lnSpc>
                <a:spcPts val="1800"/>
              </a:lnSpc>
              <a:defRPr/>
            </a:pP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ទេ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រដ្ឋាភិបាលសហព័ន្ធ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ានបញ្ជាក់ថាវានឹងមិនពិចារណា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ារព្យាបាល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(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រួមទាំងវ៉ាក់ស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)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ជាផ្នែកនៃការសំរេច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ថាតើនរណាម្នាក់គឺជា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“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ន្ទុកសាធារណៈ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”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ឬវាទាក់ទងចំពោះលក្ខណៈអត្ថប្រយោជន៍សាធារណៈ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ំរាប់បុគ្គលខ្លះ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ែលស្វែងរកការបន្ដរស់នៅ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ឬផ្លាស់ប្ដូរស្ថានភាពឡើយ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ូម្បីតែបើវ៉ាក់ស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ត្រូវបានបង់ឲ្យដោយ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Medicaid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ឬប្រាក់សហព័ន្ធផ្សេងទៀត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៏ដោយ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</a:p>
          <a:p>
            <a:pPr>
              <a:lnSpc>
                <a:spcPts val="1800"/>
              </a:lnSpc>
            </a:pPr>
            <a:endParaRPr lang="en-US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>
              <a:lnSpc>
                <a:spcPts val="1800"/>
              </a:lnSpc>
            </a:pP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យក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 ID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ោយមានឈ្មោះរបស់អ្ន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ើសិនអ្នកមានមួយ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ើម្បីបញ្ជាក់ឈ្មោះរបស់អ្ន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ៅក្នុងប្រព័ន្ធចាក់វ៉ាក់សាំង</a:t>
            </a: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​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​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ាមិនបានតម្រូវទេ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</a:p>
          <a:p>
            <a:pPr>
              <a:lnSpc>
                <a:spcPts val="1800"/>
              </a:lnSpc>
            </a:pPr>
            <a:endParaRPr lang="en-US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>
              <a:lnSpc>
                <a:spcPts val="1800"/>
              </a:lnSpc>
            </a:pP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យកប័ណ្ណធានារ៉ាប់រងសុខភាពរបស់អ្ន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ើសិនអ្នកមានមួយ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្រុមហ៊ុនធានារ៉ាប់រងរបស់អ្ន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ឹងត្រូវបានចេញ</a:t>
            </a:r>
            <a:endParaRPr lang="fr-CA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>
              <a:lnSpc>
                <a:spcPts val="1800"/>
              </a:lnSpc>
            </a:pP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ិក្កយប័ត្រឲ្យ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ោយឥតអស់ថ្លៃដល់អ្ន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្នកមិនបាច់បានធានារ៉ាប់រ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ើម្បីទទួលវ៉ាក់សាំងឡើយ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27</a:t>
            </a:fld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823702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8507">
              <a:lnSpc>
                <a:spcPts val="1900"/>
              </a:lnSpc>
              <a:defRPr/>
            </a:pP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សម្គាល់៖</a:t>
            </a:r>
          </a:p>
          <a:p>
            <a:pPr defTabSz="948507">
              <a:lnSpc>
                <a:spcPts val="1900"/>
              </a:lnSpc>
              <a:defRPr/>
            </a:pPr>
            <a:endParaRPr lang="km-KH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defTabSz="948507">
              <a:lnSpc>
                <a:spcPts val="1900"/>
              </a:lnSpc>
              <a:defRPr/>
            </a:pP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ើសិនអ្នកមានឈឺខ្ល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ឬមិនស្រួលខ្លួន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យាយទៅកាន់អ្នកផ្ដល់ការថែទាំសុខភាពរបស់អ្ន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ែលអាចនឹងឲ្យអនុសាសន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៍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្រើថ្នាំគ្មានវេជ្ជបញ្ជា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ូចជា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 err="1">
                <a:latin typeface="Calibri" panose="020F0502020204030204" pitchFamily="34" charset="0"/>
                <a:cs typeface="Calibri" panose="020F0502020204030204" pitchFamily="34" charset="0"/>
              </a:rPr>
              <a:t>ibuprofen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ឬ </a:t>
            </a:r>
            <a:r>
              <a:rPr lang="fr-CA" dirty="0" err="1">
                <a:latin typeface="Calibri" panose="020F0502020204030204" pitchFamily="34" charset="0"/>
                <a:cs typeface="Calibri" panose="020F0502020204030204" pitchFamily="34" charset="0"/>
              </a:rPr>
              <a:t>acetaminophen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ើម្បីបន្ថយការឈឺ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ឬមិនស្រួលខ្លួននៅកន្លែងអ្នកចាក់ថ្នាំ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្អំដោយក្រណាត់ស្អាត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ត្រជាក់ល្មម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ើម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ៅលើកន្លែ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ប្រើ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ឬហាត់ពត់ដៃរបស់អ្ន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  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ើម្បីបន្ថយការមិនស្រួលខ្លួនមកពីគ្រុន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ផឹកទឹកឲ្យច្រើន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ស្លៀកពា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់</a:t>
            </a: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ខោអាវស្</a:t>
            </a:r>
            <a:r>
              <a:rPr lang="en-US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ើង</a:t>
            </a: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ៗ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</a:p>
          <a:p>
            <a:pPr defTabSz="948507">
              <a:lnSpc>
                <a:spcPts val="1900"/>
              </a:lnSpc>
              <a:defRPr/>
            </a:pPr>
            <a:endParaRPr lang="en-US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defTabSz="948507">
              <a:lnSpc>
                <a:spcPts val="1900"/>
              </a:lnSpc>
              <a:defRPr/>
            </a:pP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ៅក្នុងករណីភាគច្រើន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ារមិនស្រួលខ្លួនមកពីគ្រុន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ឬឈឺ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គឺជាធម្មតា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៉ុន្ដែទាក់ទងអ្នកផ្ដល់ការថែទាំសុខភាពរបស់អ្ន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ើសិនមានក្រហម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ឬឈឺខ្ល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ៅកន្លែងអ្នកបានចាក់ថ្នាំ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ើនឡើងបន្ទាប់ពី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24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៉ោ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ឬឥទ្ធិពលរាយរងរបស់អ្ន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ែលអ្នកកំពុងតែព្រួយបារម្ភ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ឬហាក់ដូចជាមិនបាត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ន្ទាប់ពី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ពីរបីថ្ងៃ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</a:p>
          <a:p>
            <a:pPr>
              <a:lnSpc>
                <a:spcPts val="1900"/>
              </a:lnSpc>
            </a:pPr>
            <a:endParaRPr lang="en-US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defTabSz="948507">
              <a:lnSpc>
                <a:spcPts val="1900"/>
              </a:lnSpc>
              <a:defRPr/>
            </a:pPr>
            <a:r>
              <a:rPr lang="fr-CA" b="1" dirty="0">
                <a:latin typeface="Calibri" panose="020F0502020204030204" pitchFamily="34" charset="0"/>
                <a:cs typeface="Calibri" panose="020F0502020204030204" pitchFamily="34" charset="0"/>
              </a:rPr>
              <a:t>V-</a:t>
            </a:r>
            <a:r>
              <a:rPr lang="fr-CA" b="1" dirty="0" err="1">
                <a:latin typeface="Calibri" panose="020F0502020204030204" pitchFamily="34" charset="0"/>
                <a:cs typeface="Calibri" panose="020F0502020204030204" pitchFamily="34" charset="0"/>
              </a:rPr>
              <a:t>safe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 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គឺជាឧបករណ៍តាមទូរស័ព្ទទំនើប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ែលប្រើពាក្យសារ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ឹងស្ទង់មតិតាមបណ្ដាញ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ើម្បីផ្ដល់ការឆែកមើលសុខភាពរៀងៗខ្លួន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ន្ទាប់ពីអ្នកទទួលការចាក់វ៉ាក់ស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តាមរយៈ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b="1" dirty="0">
                <a:latin typeface="Calibri" panose="020F0502020204030204" pitchFamily="34" charset="0"/>
                <a:cs typeface="Calibri" panose="020F0502020204030204" pitchFamily="34" charset="0"/>
              </a:rPr>
              <a:t>v-</a:t>
            </a:r>
            <a:r>
              <a:rPr lang="fr-CA" b="1" dirty="0" err="1">
                <a:latin typeface="Calibri" panose="020F0502020204030204" pitchFamily="34" charset="0"/>
                <a:cs typeface="Calibri" panose="020F0502020204030204" pitchFamily="34" charset="0"/>
              </a:rPr>
              <a:t>safe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្នកអាចប្រាប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CDC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ភ្លាម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ៗ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ើសិនអ្នកមានឥទ្ធិពលរាយរងអ្វីមួយ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ន្ទាប់ពីទទួលវ៉ាក់ស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b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</a:b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ាស្រ័យទៅលើចំឡើយរបស់អ្ន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រណាម្នាក់មកពី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CDC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ាចនឹងទូរស័ព្ទមកអ្ន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ើម្បីឆែកមើលអ្ន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យកព័ត៌មានថែមទៀត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ហើយ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b="1" dirty="0">
                <a:latin typeface="Calibri" panose="020F0502020204030204" pitchFamily="34" charset="0"/>
                <a:cs typeface="Calibri" panose="020F0502020204030204" pitchFamily="34" charset="0"/>
              </a:rPr>
              <a:t>v-</a:t>
            </a:r>
            <a:r>
              <a:rPr lang="fr-CA" b="1" dirty="0" err="1">
                <a:latin typeface="Calibri" panose="020F0502020204030204" pitchFamily="34" charset="0"/>
                <a:cs typeface="Calibri" panose="020F0502020204030204" pitchFamily="34" charset="0"/>
              </a:rPr>
              <a:t>safe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ឹងរំលឹកអ្ន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ឲ្យទៅទទួលវ៉ាក់ស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1000" dirty="0"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ូស្សទីពីររបស់អ្ន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ើសិនអ្នកត្រូវការមួយទៀត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ើម្បីចុះឈ្មោះសំរាប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b="1" dirty="0">
                <a:latin typeface="Calibri" panose="020F0502020204030204" pitchFamily="34" charset="0"/>
                <a:cs typeface="Calibri" panose="020F0502020204030204" pitchFamily="34" charset="0"/>
              </a:rPr>
              <a:t>v-</a:t>
            </a:r>
            <a:r>
              <a:rPr lang="fr-CA" b="1" dirty="0" err="1">
                <a:latin typeface="Calibri" panose="020F0502020204030204" pitchFamily="34" charset="0"/>
                <a:cs typeface="Calibri" panose="020F0502020204030204" pitchFamily="34" charset="0"/>
              </a:rPr>
              <a:t>safe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ូមទស្សនា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cdc.gov/</a:t>
            </a:r>
            <a:r>
              <a:rPr lang="fr-CA" dirty="0" err="1">
                <a:latin typeface="Calibri" panose="020F0502020204030204" pitchFamily="34" charset="0"/>
                <a:cs typeface="Calibri" panose="020F0502020204030204" pitchFamily="34" charset="0"/>
              </a:rPr>
              <a:t>vsafe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</a:p>
          <a:p>
            <a:pPr>
              <a:lnSpc>
                <a:spcPts val="1763"/>
              </a:lnSpc>
            </a:pPr>
            <a:endParaRPr lang="en-US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28</a:t>
            </a:fld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003756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900"/>
              </a:lnSpc>
            </a:pPr>
            <a:endParaRPr lang="fr-CA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29</a:t>
            </a:fld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19274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CBBDB-52D0-FE4C-8729-D7393D454E10}" type="slidenum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3</a:t>
            </a:fld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882794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សម្គាល់៖</a:t>
            </a:r>
          </a:p>
          <a:p>
            <a:endParaRPr lang="fr-CA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នុស្សដែលបានចាក់វ៉ាក់សាំងពេញ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ំរាប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ើសិនគេបានទទួលពីរដូស្ស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ៃវ៉ាក់ស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Moderna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ឬ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Pfizer COVID-19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ឬតែមួយដូស្សនៃវ៉ាក់ស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Johnson &amp; Johnson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លើសពី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14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ថ្ងៃកន្លងទៅ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</a:p>
          <a:p>
            <a:pPr>
              <a:lnSpc>
                <a:spcPts val="1763"/>
              </a:lnSpc>
            </a:pPr>
            <a:endParaRPr lang="en-US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defTabSz="948507">
              <a:lnSpc>
                <a:spcPts val="1763"/>
              </a:lnSpc>
              <a:defRPr/>
            </a:pP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ទាំងអស់គ្នា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តាមការចាក់វ៉ាក់ស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ធ្វើតាមអនុសាសន៍នៃ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CDC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ំរាប់បៀបដើម្បីការពារខ្លួនអ្ន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អ្នកផ្សេ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ៗ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ផ្ដល់ជូន</a:t>
            </a: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ការការ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ពារដ៏ល្អបំផុត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ពីការឆ្លងរោគ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ការរាលដាល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 </a:t>
            </a:r>
          </a:p>
          <a:p>
            <a:pPr defTabSz="948507">
              <a:lnSpc>
                <a:spcPts val="1763"/>
              </a:lnSpc>
              <a:defRPr/>
            </a:pPr>
            <a:endParaRPr lang="en-US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defTabSz="948507">
              <a:lnSpc>
                <a:spcPts val="1763"/>
              </a:lnSpc>
              <a:defRPr/>
            </a:pP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ឧបទេសរបស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DPH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ំរាប់មនុស្សដែលបានចាក់វ៉ាក់សាំងពេញ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ាចរកឃើញនៅ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https://www.mass.gov/guidance/guidance-for-people-who-are-fully-vaccinated-against-covid-19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30</a:t>
            </a:fld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397639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31</a:t>
            </a:fld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601774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32</a:t>
            </a:fld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65969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507365" indent="-342900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km-KH" sz="1800" dirty="0">
                <a:solidFill>
                  <a:srgbClr val="000000"/>
                </a:solidFill>
                <a:effectLst/>
                <a:latin typeface="Kh Content" panose="02000500000000020004" pitchFamily="2" charset="0"/>
                <a:ea typeface="Calibri" panose="020F0502020204030204" pitchFamily="34" charset="0"/>
                <a:cs typeface="Kh Content" panose="02000500000000020004" pitchFamily="2" charset="0"/>
              </a:rPr>
              <a:t>សម្គាល់៖</a:t>
            </a:r>
          </a:p>
          <a:p>
            <a:pPr marL="342900" marR="507365" indent="-342900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km-KH" sz="1800" dirty="0">
              <a:solidFill>
                <a:srgbClr val="000000"/>
              </a:solidFill>
              <a:effectLst/>
              <a:latin typeface="Kh Content" panose="02000500000000020004" pitchFamily="2" charset="0"/>
              <a:ea typeface="Calibri" panose="020F0502020204030204" pitchFamily="34" charset="0"/>
              <a:cs typeface="Kh Content" panose="02000500000000020004" pitchFamily="2" charset="0"/>
            </a:endParaRPr>
          </a:p>
          <a:p>
            <a:pPr marL="342900" marR="507365" indent="-342900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km-KH" sz="1800" dirty="0">
                <a:solidFill>
                  <a:srgbClr val="000000"/>
                </a:solidFill>
                <a:effectLst/>
                <a:latin typeface="Kh Content" panose="02000500000000020004" pitchFamily="2" charset="0"/>
                <a:ea typeface="Calibri" panose="020F0502020204030204" pitchFamily="34" charset="0"/>
                <a:cs typeface="Kh Content" panose="02000500000000020004" pitchFamily="2" charset="0"/>
              </a:rPr>
              <a:t>ក្រសួងសុខាភិបាលសាធារណៈរដ្ឋម៉ាសាជូស្សេត បង្ហោះរបាយការចាក់ថ្នាំវ៉ាក់សាំង ដែលបង្ហាញព័តឥមាន​ដូចជា៖</a:t>
            </a:r>
            <a:endParaRPr lang="en-US" sz="1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DaunPenh" panose="01010101010101010101" pitchFamily="2" charset="0"/>
            </a:endParaRPr>
          </a:p>
          <a:p>
            <a:pPr marL="0" marR="0">
              <a:lnSpc>
                <a:spcPts val="600"/>
              </a:lnSpc>
              <a:spcBef>
                <a:spcPts val="0"/>
              </a:spcBef>
              <a:spcAft>
                <a:spcPts val="85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</a:t>
            </a:r>
            <a:endParaRPr lang="en-US" sz="1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DaunPenh" panose="01010101010101010101" pitchFamily="2" charset="0"/>
            </a:endParaRPr>
          </a:p>
          <a:p>
            <a:pPr marL="342900" marR="3497580" lvl="0" indent="-342900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km-KH" sz="1800" dirty="0">
                <a:solidFill>
                  <a:srgbClr val="000000"/>
                </a:solidFill>
                <a:effectLst/>
                <a:latin typeface="Kh Content" panose="02000500000000020004" pitchFamily="2" charset="0"/>
                <a:ea typeface="Calibri" panose="020F0502020204030204" pitchFamily="34" charset="0"/>
                <a:cs typeface="Kh Content" panose="02000500000000020004" pitchFamily="2" charset="0"/>
              </a:rPr>
              <a:t>ចំនួនកម្រិតវ៉ាក់សាំង​ត្រូវបាន​ផ្ញើទៅរដ្ឋម៉ាសាជូស្សេត</a:t>
            </a:r>
            <a:endParaRPr lang="en-US" sz="1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DaunPenh" panose="01010101010101010101" pitchFamily="2" charset="0"/>
            </a:endParaRPr>
          </a:p>
          <a:p>
            <a:pPr marL="342900" marR="3497580" lvl="0" indent="-342900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 spc="-24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ourier New" panose="02070309020205020404" pitchFamily="49" charset="0"/>
                <a:cs typeface="Calibri" panose="020F0502020204030204" pitchFamily="34" charset="0"/>
              </a:rPr>
              <a:t> </a:t>
            </a:r>
            <a:r>
              <a:rPr lang="km-KH" sz="1800" spc="-24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ourier New" panose="02070309020205020404" pitchFamily="49" charset="0"/>
                <a:cs typeface="Calibri" panose="020F0502020204030204" pitchFamily="34" charset="0"/>
              </a:rPr>
              <a:t>ចំនួនមនុស្ស​ដែលបានទទួលថ្នាំវ៉ា់ក់សាំង</a:t>
            </a:r>
          </a:p>
          <a:p>
            <a:pPr marL="342900" marR="3497580" lvl="0" indent="-342900">
              <a:lnSpc>
                <a:spcPct val="116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km-KH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ចំនួន​មនុស្ស​ដែលបានទទួលថ្នាំវ៉ាក់សាំង</a:t>
            </a:r>
            <a:r>
              <a:rPr lang="km-KH" sz="1800" b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​តាម​ខោនធី</a:t>
            </a:r>
            <a:r>
              <a:rPr lang="km-KH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នីមួយ​ៗ</a:t>
            </a:r>
            <a:endParaRPr lang="en-US" sz="1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DaunPenh" panose="01010101010101010101" pitchFamily="2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455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km-KH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ចំនួនមនុស្ស​ដែល​បានទទួលថ្នាក់វ៉ាក់សាំង​តាម​</a:t>
            </a:r>
            <a:r>
              <a:rPr lang="km-KH" sz="1800" b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អាយុនិង​ពូជ/សាសន៍</a:t>
            </a:r>
            <a:endParaRPr lang="km-KH" sz="1800" b="1" dirty="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DaunPenh" panose="01010101010101010101" pitchFamily="2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455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km-KH" sz="1800" b="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DaunPenh" panose="01010101010101010101" pitchFamily="2" charset="0"/>
              </a:rPr>
              <a:t>ថ្នាំវ៉ាក់សាំងត្រូវបាន​ផ្តល់​ដោយ​ប្រភេទនៃ​ផ្តល់សេវា (ឧ. សាលារៀន មជ្ឈមណ្ឌលសុខាភិបាលសង្គមសហគមន៍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CBBDB-52D0-FE4C-8729-D7393D454E10}" type="slidenum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33</a:t>
            </a:fld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17461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CBBDB-52D0-FE4C-8729-D7393D454E10}" type="slidenum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34</a:t>
            </a:fld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915671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867"/>
              </a:lnSpc>
            </a:pP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សម្គាល់៖</a:t>
            </a:r>
          </a:p>
          <a:p>
            <a:pPr>
              <a:lnSpc>
                <a:spcPts val="1867"/>
              </a:lnSpc>
            </a:pPr>
            <a:endParaRPr lang="km-KH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>
              <a:lnSpc>
                <a:spcPts val="1867"/>
              </a:lnSpc>
            </a:pP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៏សូមមើលសំណួរដែលសួរញឹកញាប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ំរាប់សាធារណជនទូទៅ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ំរាប់ចំឡើយចំពោះសំណួរផ្សេងៗទៀត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</a:p>
          <a:p>
            <a:pPr>
              <a:lnSpc>
                <a:spcPts val="1867"/>
              </a:lnSpc>
            </a:pP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ែលអ្នកប្រហែលជា</a:t>
            </a: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​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ច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់</a:t>
            </a: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​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ោះស្រាយ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ំឡុងពេលប្រជុំរបស់អ្ន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35</a:t>
            </a:fld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9374363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CBBDB-52D0-FE4C-8729-D7393D454E10}" type="slidenum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36</a:t>
            </a:fld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46110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CBBDB-52D0-FE4C-8729-D7393D454E10}" type="slidenum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4</a:t>
            </a:fld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75256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m-KH" sz="1000" b="0" i="0" dirty="0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សម្គាល់៖</a:t>
            </a:r>
          </a:p>
          <a:p>
            <a:endParaRPr lang="km-KH" sz="1000" b="0" i="0" dirty="0">
              <a:solidFill>
                <a:srgbClr val="000000"/>
              </a:solidFill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r>
              <a:rPr lang="fr-CA" sz="1000" b="0" i="0" dirty="0" err="1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ប្រភព</a:t>
            </a:r>
            <a:r>
              <a:rPr lang="fr-CA" sz="1000" b="0" i="0" dirty="0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៖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https://www.cdc.gov/vaccines/hcp/conversations/understanding-vacc-work.html 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https://www.cdc.gov/vaccines/vpd/vpd-vac-basics.htm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5</a:t>
            </a:fld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24341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800"/>
              </a:lnSpc>
            </a:pPr>
            <a:r>
              <a:rPr lang="km-KH" sz="1000" b="0" i="0" dirty="0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សម្គាល់៖</a:t>
            </a:r>
          </a:p>
          <a:p>
            <a:pPr>
              <a:lnSpc>
                <a:spcPts val="1800"/>
              </a:lnSpc>
            </a:pPr>
            <a:endParaRPr lang="km-KH" sz="1000" b="0" i="0" dirty="0">
              <a:solidFill>
                <a:srgbClr val="000000"/>
              </a:solidFill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>
              <a:lnSpc>
                <a:spcPts val="1800"/>
              </a:lnSpc>
            </a:pPr>
            <a:r>
              <a:rPr lang="fr-CA" sz="1000" b="0" i="0" dirty="0" err="1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យើងយល់ថាមនុស្សខ្លះ</a:t>
            </a:r>
            <a:r>
              <a:rPr lang="fr-CA" sz="1000" b="0" i="0" dirty="0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b="0" i="0" dirty="0" err="1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ប្រហែលជាមិនបានខ្វល់ខ្វាយ</a:t>
            </a:r>
            <a:r>
              <a:rPr lang="fr-CA" sz="1000" b="0" i="0" dirty="0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b="0" i="0" dirty="0" err="1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អំពីការចាក់វ៉ាក់សាំងឡើយ</a:t>
            </a:r>
            <a:r>
              <a:rPr lang="fr-CA" sz="1000" b="0" i="0" dirty="0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  <a:r>
              <a:rPr lang="fr-CA" sz="1000" b="0" i="0" baseline="0" dirty="0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b="0" i="0" dirty="0" err="1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ទន្ទឹមនឹងវ៉ាក់សាំង</a:t>
            </a:r>
            <a:r>
              <a:rPr lang="fr-CA" sz="1000" b="0" i="0" dirty="0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</a:p>
          <a:p>
            <a:pPr>
              <a:lnSpc>
                <a:spcPts val="1800"/>
              </a:lnSpc>
            </a:pPr>
            <a:r>
              <a:rPr lang="fr-CA" b="0" i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1000" b="0" i="0" dirty="0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b="0" i="0" dirty="0" err="1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ត្រូវបានបង្កើតយ៉ាងឆាប់រហ័សទីបំផុត</a:t>
            </a:r>
            <a:r>
              <a:rPr lang="fr-CA" sz="1000" b="0" i="0" dirty="0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b="0" i="0" dirty="0" err="1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នោះវិធី</a:t>
            </a:r>
            <a:r>
              <a:rPr lang="fr-CA" sz="1000" b="0" i="0" dirty="0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b="0" i="0" dirty="0" err="1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និងទំរង់ការជាទំលាប</a:t>
            </a:r>
            <a:r>
              <a:rPr lang="fr-CA" sz="1000" b="0" i="0" dirty="0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1000" b="0" i="0" dirty="0" err="1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នៅតែជាដដែល</a:t>
            </a:r>
            <a:r>
              <a:rPr lang="fr-CA" sz="1000" b="0" i="0" dirty="0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b="0" i="0" dirty="0" err="1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ដើម្បីឲ្យប្រាកដថាសុវត្ថិភាព</a:t>
            </a:r>
            <a:r>
              <a:rPr lang="fr-CA" sz="1000" b="0" i="0" dirty="0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b="0" i="0" dirty="0" err="1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នៃវ៉ាក់សាំងអ្វីមួយ</a:t>
            </a:r>
            <a:r>
              <a:rPr lang="fr-CA" sz="1000" b="0" i="0" dirty="0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b="0" i="0" dirty="0" err="1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ដែលបានអនុញ្ញាត</a:t>
            </a:r>
            <a:r>
              <a:rPr lang="fr-CA" sz="1000" b="0" i="0" dirty="0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b="0" i="0" dirty="0" err="1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ឬបានទទួលស្គាល់ឲ្យប្រើ</a:t>
            </a:r>
            <a:r>
              <a:rPr lang="fr-CA" sz="1000" b="0" i="0" dirty="0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។  </a:t>
            </a:r>
          </a:p>
          <a:p>
            <a:pPr>
              <a:lnSpc>
                <a:spcPts val="1800"/>
              </a:lnSpc>
            </a:pPr>
            <a:endParaRPr lang="en-US" sz="1000" b="0" i="0" dirty="0">
              <a:solidFill>
                <a:srgbClr val="000000"/>
              </a:solidFill>
              <a:effectLst/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>
              <a:lnSpc>
                <a:spcPts val="1800"/>
              </a:lnSpc>
            </a:pPr>
            <a:r>
              <a:rPr lang="fr-CA" sz="1000" b="0" i="0" dirty="0" err="1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សុវត្ថិភាពគឺភាពចំបងដ៏កំពូល</a:t>
            </a:r>
            <a:r>
              <a:rPr lang="fr-CA" sz="1000" b="0" i="0" dirty="0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b="0" i="0" dirty="0" err="1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និងមានមូលហេតុជាច្រើន</a:t>
            </a:r>
            <a:r>
              <a:rPr lang="fr-CA" sz="1000" b="0" i="0" dirty="0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b="0" i="0" dirty="0" err="1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ដើម្បីឲ្យបានចាក់វ៉ាក់សាំង</a:t>
            </a:r>
            <a:r>
              <a:rPr lang="fr-CA" sz="1000" b="0" i="0" dirty="0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6</a:t>
            </a:fld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38688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8507">
              <a:lnSpc>
                <a:spcPts val="1660"/>
              </a:lnSpc>
              <a:defRPr/>
            </a:pP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សម្គាល់៖</a:t>
            </a:r>
          </a:p>
          <a:p>
            <a:pPr defTabSz="948507">
              <a:lnSpc>
                <a:spcPts val="1660"/>
              </a:lnSpc>
              <a:defRPr/>
            </a:pP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</a:p>
          <a:p>
            <a:pPr>
              <a:lnSpc>
                <a:spcPts val="1660"/>
              </a:lnSpc>
            </a:pPr>
            <a:r>
              <a:rPr lang="km-KH" sz="1000" b="1" dirty="0">
                <a:latin typeface="Kh Content" panose="02000500000000020004" pitchFamily="2" charset="0"/>
                <a:cs typeface="Kh Content" panose="02000500000000020004" pitchFamily="2" charset="0"/>
              </a:rPr>
              <a:t>តើមានអ្វីកើតឡើងឥឡូវនេះពេលដែល</a:t>
            </a:r>
            <a:r>
              <a:rPr lang="km-KH" sz="1000" b="1" baseline="0" dirty="0">
                <a:latin typeface="Kh Content" panose="02000500000000020004" pitchFamily="2" charset="0"/>
                <a:cs typeface="Kh Content" panose="02000500000000020004" pitchFamily="2" charset="0"/>
              </a:rPr>
              <a:t>វ៉ាក់សាំង </a:t>
            </a:r>
            <a:r>
              <a:rPr lang="en-US" sz="1000" b="1" baseline="0" dirty="0">
                <a:latin typeface="Kh Content" panose="02000500000000020004" pitchFamily="2" charset="0"/>
                <a:cs typeface="Kh Content" panose="02000500000000020004" pitchFamily="2" charset="0"/>
              </a:rPr>
              <a:t>COVID-19 </a:t>
            </a:r>
            <a:r>
              <a:rPr lang="km-KH" sz="1000" b="1" baseline="0" dirty="0">
                <a:latin typeface="Kh Content" panose="02000500000000020004" pitchFamily="2" charset="0"/>
                <a:cs typeface="Kh Content" panose="02000500000000020004" pitchFamily="2" charset="0"/>
              </a:rPr>
              <a:t>ឈ្មោះ </a:t>
            </a:r>
            <a:r>
              <a:rPr lang="en-US" sz="1000" b="1" baseline="0" dirty="0">
                <a:latin typeface="Kh Content" panose="02000500000000020004" pitchFamily="2" charset="0"/>
                <a:cs typeface="Kh Content" panose="02000500000000020004" pitchFamily="2" charset="0"/>
              </a:rPr>
              <a:t>Pfizer </a:t>
            </a:r>
            <a:r>
              <a:rPr lang="km-KH" sz="1000" b="1" baseline="0" dirty="0">
                <a:latin typeface="Kh Content" panose="02000500000000020004" pitchFamily="2" charset="0"/>
                <a:cs typeface="Kh Content" panose="02000500000000020004" pitchFamily="2" charset="0"/>
              </a:rPr>
              <a:t>ត្រូវបានទទួលស្គាល់ដោយ </a:t>
            </a:r>
            <a:r>
              <a:rPr lang="en-US" sz="1000" b="1" baseline="0" dirty="0">
                <a:latin typeface="Kh Content" panose="02000500000000020004" pitchFamily="2" charset="0"/>
                <a:cs typeface="Kh Content" panose="02000500000000020004" pitchFamily="2" charset="0"/>
              </a:rPr>
              <a:t>FDA</a:t>
            </a:r>
            <a:r>
              <a:rPr lang="km-KH" sz="1000" b="1" baseline="0" dirty="0">
                <a:latin typeface="Kh Content" panose="02000500000000020004" pitchFamily="2" charset="0"/>
                <a:cs typeface="Kh Content" panose="02000500000000020004" pitchFamily="2" charset="0"/>
              </a:rPr>
              <a:t>?</a:t>
            </a:r>
          </a:p>
          <a:p>
            <a:pPr marL="171450" indent="-171450">
              <a:lnSpc>
                <a:spcPts val="1660"/>
              </a:lnSpc>
              <a:buFont typeface="Arial" panose="020B0604020202020204" pitchFamily="34" charset="0"/>
              <a:buChar char="•"/>
            </a:pPr>
            <a:r>
              <a:rPr lang="km-KH" sz="1000" baseline="0" dirty="0">
                <a:latin typeface="Kh Content" panose="02000500000000020004" pitchFamily="2" charset="0"/>
                <a:cs typeface="Kh Content" panose="02000500000000020004" pitchFamily="2" charset="0"/>
              </a:rPr>
              <a:t>នៅថ្ងៃទី23 ខែសីហា ឆ្នាំ2021 </a:t>
            </a:r>
            <a:r>
              <a:rPr lang="en-US" sz="1000" baseline="0" dirty="0">
                <a:latin typeface="Kh Content" panose="02000500000000020004" pitchFamily="2" charset="0"/>
                <a:cs typeface="Kh Content" panose="02000500000000020004" pitchFamily="2" charset="0"/>
              </a:rPr>
              <a:t>FDA </a:t>
            </a:r>
            <a:r>
              <a:rPr lang="km-KH" sz="1000" baseline="0" dirty="0">
                <a:latin typeface="Kh Content" panose="02000500000000020004" pitchFamily="2" charset="0"/>
                <a:cs typeface="Kh Content" panose="02000500000000020004" pitchFamily="2" charset="0"/>
              </a:rPr>
              <a:t>បានធ្វើការទទួលស្គាល់វ៉ាក់សាំង </a:t>
            </a:r>
            <a:r>
              <a:rPr lang="en-US" sz="1000" baseline="0" dirty="0">
                <a:latin typeface="Kh Content" panose="02000500000000020004" pitchFamily="2" charset="0"/>
                <a:cs typeface="Kh Content" panose="02000500000000020004" pitchFamily="2" charset="0"/>
              </a:rPr>
              <a:t>COVID-19 </a:t>
            </a:r>
            <a:r>
              <a:rPr lang="km-KH" sz="1000" baseline="0" dirty="0">
                <a:latin typeface="Kh Content" panose="02000500000000020004" pitchFamily="2" charset="0"/>
                <a:cs typeface="Kh Content" panose="02000500000000020004" pitchFamily="2" charset="0"/>
              </a:rPr>
              <a:t>ដំបូងគេបង្អស់។ វ៉ាក់សាំងនោះត្រូវបានគេស្គាល់ថាវ៉ាក់សាំង </a:t>
            </a:r>
            <a:r>
              <a:rPr lang="en-US" sz="1000" baseline="0" dirty="0">
                <a:latin typeface="Kh Content" panose="02000500000000020004" pitchFamily="2" charset="0"/>
                <a:cs typeface="Kh Content" panose="02000500000000020004" pitchFamily="2" charset="0"/>
              </a:rPr>
              <a:t>Pfizer COVID-19 </a:t>
            </a:r>
            <a:r>
              <a:rPr lang="km-KH" sz="1000" baseline="0" dirty="0">
                <a:latin typeface="Kh Content" panose="02000500000000020004" pitchFamily="2" charset="0"/>
                <a:cs typeface="Kh Content" panose="02000500000000020004" pitchFamily="2" charset="0"/>
              </a:rPr>
              <a:t>និងត្រូវបានដាក់លើទីផ្សារដោយមានឈ្មោះថា </a:t>
            </a:r>
            <a:r>
              <a:rPr lang="en-US" sz="1000" baseline="0" dirty="0" err="1">
                <a:latin typeface="Kh Content" panose="02000500000000020004" pitchFamily="2" charset="0"/>
                <a:cs typeface="Kh Content" panose="02000500000000020004" pitchFamily="2" charset="0"/>
              </a:rPr>
              <a:t>Comirnaty</a:t>
            </a:r>
            <a:r>
              <a:rPr lang="en-US" sz="1000" baseline="0" dirty="0">
                <a:latin typeface="Kh Content" panose="02000500000000020004" pitchFamily="2" charset="0"/>
                <a:cs typeface="Kh Content" panose="02000500000000020004" pitchFamily="2" charset="0"/>
              </a:rPr>
              <a:t> (</a:t>
            </a:r>
            <a:r>
              <a:rPr lang="en-US" sz="1000" baseline="0" dirty="0" err="1">
                <a:latin typeface="Kh Content" panose="02000500000000020004" pitchFamily="2" charset="0"/>
                <a:cs typeface="Kh Content" panose="02000500000000020004" pitchFamily="2" charset="0"/>
              </a:rPr>
              <a:t>koe</a:t>
            </a:r>
            <a:r>
              <a:rPr lang="en-US" sz="1000" baseline="0" dirty="0">
                <a:latin typeface="Kh Content" panose="02000500000000020004" pitchFamily="2" charset="0"/>
                <a:cs typeface="Kh Content" panose="02000500000000020004" pitchFamily="2" charset="0"/>
              </a:rPr>
              <a:t>-</a:t>
            </a:r>
            <a:r>
              <a:rPr lang="en-US" sz="1000" baseline="0" dirty="0" err="1">
                <a:latin typeface="Kh Content" panose="02000500000000020004" pitchFamily="2" charset="0"/>
                <a:cs typeface="Kh Content" panose="02000500000000020004" pitchFamily="2" charset="0"/>
              </a:rPr>
              <a:t>mir</a:t>
            </a:r>
            <a:r>
              <a:rPr lang="en-US" sz="1000" baseline="0" dirty="0">
                <a:latin typeface="Kh Content" panose="02000500000000020004" pitchFamily="2" charset="0"/>
                <a:cs typeface="Kh Content" panose="02000500000000020004" pitchFamily="2" charset="0"/>
              </a:rPr>
              <a:t>’-</a:t>
            </a:r>
            <a:r>
              <a:rPr lang="en-US" sz="1000" baseline="0" dirty="0" err="1">
                <a:latin typeface="Kh Content" panose="02000500000000020004" pitchFamily="2" charset="0"/>
                <a:cs typeface="Kh Content" panose="02000500000000020004" pitchFamily="2" charset="0"/>
              </a:rPr>
              <a:t>na</a:t>
            </a:r>
            <a:r>
              <a:rPr lang="en-US" sz="1000" baseline="0" dirty="0">
                <a:latin typeface="Kh Content" panose="02000500000000020004" pitchFamily="2" charset="0"/>
                <a:cs typeface="Kh Content" panose="02000500000000020004" pitchFamily="2" charset="0"/>
              </a:rPr>
              <a:t>-tee)</a:t>
            </a:r>
            <a:r>
              <a:rPr lang="km-KH" sz="1000" baseline="0" dirty="0">
                <a:latin typeface="Kh Content" panose="02000500000000020004" pitchFamily="2" charset="0"/>
                <a:cs typeface="Kh Content" panose="02000500000000020004" pitchFamily="2" charset="0"/>
              </a:rPr>
              <a:t> សម្រាប់ការបង្ការការឆ្លងជំងឺ </a:t>
            </a:r>
            <a:r>
              <a:rPr lang="en-US" sz="1000" baseline="0" dirty="0">
                <a:latin typeface="Kh Content" panose="02000500000000020004" pitchFamily="2" charset="0"/>
                <a:cs typeface="Kh Content" panose="02000500000000020004" pitchFamily="2" charset="0"/>
              </a:rPr>
              <a:t>COVID-19 </a:t>
            </a:r>
            <a:r>
              <a:rPr lang="km-KH" sz="1000" baseline="0" dirty="0">
                <a:latin typeface="Kh Content" panose="02000500000000020004" pitchFamily="2" charset="0"/>
                <a:cs typeface="Kh Content" panose="02000500000000020004" pitchFamily="2" charset="0"/>
              </a:rPr>
              <a:t>លើអ្នកដែលមានអាយុ16ឆ្នាំឡើងទៅ។</a:t>
            </a:r>
          </a:p>
          <a:p>
            <a:pPr marL="171450" indent="-171450">
              <a:lnSpc>
                <a:spcPts val="1660"/>
              </a:lnSpc>
              <a:buFont typeface="Arial" panose="020B0604020202020204" pitchFamily="34" charset="0"/>
              <a:buChar char="•"/>
            </a:pP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វ៉ាក់សាំង</a:t>
            </a:r>
            <a:r>
              <a:rPr lang="km-KH" sz="1000" baseline="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en-US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Comirnaty</a:t>
            </a:r>
            <a:r>
              <a:rPr lang="en-US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គឺដូចគ្នាទៅនឹងវ៉ាក់សាំង </a:t>
            </a:r>
            <a:r>
              <a:rPr lang="en-US" sz="1000" dirty="0">
                <a:latin typeface="Kh Content" panose="02000500000000020004" pitchFamily="2" charset="0"/>
                <a:cs typeface="Kh Content" panose="02000500000000020004" pitchFamily="2" charset="0"/>
              </a:rPr>
              <a:t>Pfizer</a:t>
            </a: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</a:p>
          <a:p>
            <a:pPr marL="171450" indent="-171450">
              <a:lnSpc>
                <a:spcPts val="1660"/>
              </a:lnSpc>
              <a:buFont typeface="Arial" panose="020B0604020202020204" pitchFamily="34" charset="0"/>
              <a:buChar char="•"/>
            </a:pP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វ៉ាក់សាំង</a:t>
            </a:r>
            <a:r>
              <a:rPr lang="km-KH" sz="1000" baseline="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en-US" sz="1000" baseline="0" dirty="0">
                <a:latin typeface="Kh Content" panose="02000500000000020004" pitchFamily="2" charset="0"/>
                <a:cs typeface="Kh Content" panose="02000500000000020004" pitchFamily="2" charset="0"/>
              </a:rPr>
              <a:t>Pfizer</a:t>
            </a:r>
            <a:r>
              <a:rPr lang="km-KH" sz="1000" baseline="0" dirty="0">
                <a:latin typeface="Kh Content" panose="02000500000000020004" pitchFamily="2" charset="0"/>
                <a:cs typeface="Kh Content" panose="02000500000000020004" pitchFamily="2" charset="0"/>
              </a:rPr>
              <a:t> នៅតែមានសម្រាប់ការអនុញ្ញាតឲ្យប្រើបន្ទាន់ </a:t>
            </a:r>
            <a:r>
              <a:rPr lang="en-US" sz="1000" baseline="0" dirty="0">
                <a:latin typeface="Kh Content" panose="02000500000000020004" pitchFamily="2" charset="0"/>
                <a:cs typeface="Kh Content" panose="02000500000000020004" pitchFamily="2" charset="0"/>
              </a:rPr>
              <a:t>(EUA) </a:t>
            </a:r>
            <a:r>
              <a:rPr lang="km-KH" sz="1000" baseline="0" dirty="0">
                <a:latin typeface="Kh Content" panose="02000500000000020004" pitchFamily="2" charset="0"/>
                <a:cs typeface="Kh Content" panose="02000500000000020004" pitchFamily="2" charset="0"/>
              </a:rPr>
              <a:t>សម្រាប់អ្នកដែលមានអាយុ12ដល់15ឆ្នាំ និងសម្រាប់ការចាក់ដូស្សទីបីសម្រាប់អ្នកដែលមានប្រព័ន្ធភាពសាំខ្សោយ។</a:t>
            </a:r>
          </a:p>
          <a:p>
            <a:pPr marL="171450" indent="-171450">
              <a:lnSpc>
                <a:spcPts val="1660"/>
              </a:lnSpc>
              <a:buFont typeface="Arial" panose="020B0604020202020204" pitchFamily="34" charset="0"/>
              <a:buChar char="•"/>
            </a:pPr>
            <a:r>
              <a:rPr lang="km-KH" sz="1000" spc="50" baseline="0" dirty="0">
                <a:latin typeface="Kh Content" panose="02000500000000020004" pitchFamily="2" charset="0"/>
                <a:cs typeface="Kh Content" panose="02000500000000020004" pitchFamily="2" charset="0"/>
              </a:rPr>
              <a:t>បើប្រៀបធៀបទៅនឹង </a:t>
            </a:r>
            <a:r>
              <a:rPr lang="en-US" sz="1200" kern="1200" spc="5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UA</a:t>
            </a:r>
            <a:r>
              <a:rPr lang="km-KH" sz="1200" kern="1200" spc="5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ការអនុញ្ញាតចំពោះវ៉ាក់សាំងរបស់</a:t>
            </a:r>
            <a:r>
              <a:rPr lang="km-KH" sz="1200" kern="1200" spc="5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spc="5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DA </a:t>
            </a:r>
            <a:r>
              <a:rPr lang="km-KH" sz="1200" kern="1200" spc="5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ត្រូវការច្រើនជាងនូវទិន្នន័យពីសុវត្ថិភាព ការ​ផ</a:t>
            </a:r>
            <a:r>
              <a:rPr lang="km-KH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លិ​ត និងប្រសិទ្ធភាពយូរអង្វែង ជាមួយទិន្នន័យពិតៗ។</a:t>
            </a:r>
          </a:p>
          <a:p>
            <a:pPr marL="171450" indent="-171450">
              <a:lnSpc>
                <a:spcPts val="1660"/>
              </a:lnSpc>
              <a:buFont typeface="Arial" panose="020B0604020202020204" pitchFamily="34" charset="0"/>
              <a:buChar char="•"/>
            </a:pPr>
            <a:r>
              <a:rPr lang="km-KH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ការអនុញ្ញាតពេញលេញរបស់ 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DA </a:t>
            </a:r>
            <a:r>
              <a:rPr lang="km-KH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មានន័យថាវ៉ាក់សាំង </a:t>
            </a:r>
            <a:r>
              <a:rPr lang="en-US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irnaty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km-KH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ពេលនេះមានកម្រិតការទទួលស្គាល់ដូចវ៉ាក់សាំងដទៃទៀតដែលកំពុងតែត្រូវបានប្រើប្រាស់ជាញឹកញយនៅក្នុងសហរដ្ឋអាមេរិកដូចជាវ៉ាក់សាំងសម្រាប់ ជំងឺរលាកថ្លើម ជំងឺកញ្ច្រិល ជំងឺអុតស្វាយ និងជំងឺគ្រុនស្វិតដៃជើង។</a:t>
            </a:r>
          </a:p>
          <a:p>
            <a:pPr marL="171450" indent="-171450">
              <a:lnSpc>
                <a:spcPts val="1660"/>
              </a:lnSpc>
              <a:buFont typeface="Arial" panose="020B0604020202020204" pitchFamily="34" charset="0"/>
              <a:buChar char="•"/>
            </a:pPr>
            <a:r>
              <a:rPr lang="km-KH" sz="1200" kern="1200" spc="3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វ៉ាក់សាំង </a:t>
            </a:r>
            <a:r>
              <a:rPr lang="en-US" sz="1200" kern="1200" spc="3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VID-19</a:t>
            </a:r>
            <a:r>
              <a:rPr lang="km-KH" sz="1200" kern="1200" spc="3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ឈ្មោះ</a:t>
            </a:r>
            <a:r>
              <a:rPr lang="en-US" sz="1200" kern="1200" spc="3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000" kern="1200" spc="3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fizer</a:t>
            </a:r>
            <a:r>
              <a:rPr lang="km-KH" sz="1000" kern="1200" spc="3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ជាវ់ាក់សាំងទីមួយដែលទទួល​ការអនុញ្ញាតឲ្យប្រើបន្ទាន់ ដែលនេះជាមូលហេតុដែល</a:t>
            </a:r>
            <a:r>
              <a:rPr lang="km-KH" sz="10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វ៉ាក់សាំងនេះទទួលបានទិន្នន័យគ្រប់គ្រាន់ក្នុងការទទួលបានការទទួលស្គាល់ពេញលេញ។ វាមិនមានអ្វីពាក់ព័ន្ធនឹងសុវត្ថិភាព និងប្រសិទ្ធភាពនៃវ៉ាក់សាំង </a:t>
            </a:r>
            <a:r>
              <a:rPr lang="en-US" sz="10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derna</a:t>
            </a:r>
            <a:r>
              <a:rPr lang="en-US" sz="10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km-KH" sz="10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ឬ</a:t>
            </a:r>
            <a:r>
              <a:rPr lang="en-US" sz="10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Johnson &amp; Johnson </a:t>
            </a:r>
            <a:r>
              <a:rPr lang="km-KH" sz="10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នោះទេ។</a:t>
            </a:r>
            <a:endParaRPr lang="en-US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>
              <a:lnSpc>
                <a:spcPts val="1660"/>
              </a:lnSpc>
            </a:pPr>
            <a:endParaRPr lang="km-KH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>
              <a:lnSpc>
                <a:spcPts val="1660"/>
              </a:lnSpc>
            </a:pPr>
            <a:r>
              <a:rPr lang="fr-CA" sz="1000" b="1" dirty="0" err="1">
                <a:latin typeface="Kh Content" panose="02000500000000020004" pitchFamily="2" charset="0"/>
                <a:cs typeface="Kh Content" panose="02000500000000020004" pitchFamily="2" charset="0"/>
              </a:rPr>
              <a:t>តើ</a:t>
            </a:r>
            <a:r>
              <a:rPr lang="fr-CA" sz="1000" b="1" dirty="0">
                <a:latin typeface="Kh Content" panose="02000500000000020004" pitchFamily="2" charset="0"/>
                <a:cs typeface="Kh Content" panose="02000500000000020004" pitchFamily="2" charset="0"/>
              </a:rPr>
              <a:t>​</a:t>
            </a:r>
            <a:r>
              <a:rPr lang="fr-CA" sz="1000" b="1" dirty="0" err="1">
                <a:latin typeface="Kh Content" panose="02000500000000020004" pitchFamily="2" charset="0"/>
                <a:cs typeface="Kh Content" panose="02000500000000020004" pitchFamily="2" charset="0"/>
              </a:rPr>
              <a:t>ការអនុញ្ញាតឲ្យប្រើបន្ទាន</a:t>
            </a:r>
            <a:r>
              <a:rPr lang="fr-CA" sz="1000" b="1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b="1" dirty="0">
                <a:latin typeface="Calibri" panose="020F0502020204030204" pitchFamily="34" charset="0"/>
                <a:cs typeface="Calibri" panose="020F0502020204030204" pitchFamily="34" charset="0"/>
              </a:rPr>
              <a:t>(Emergency Use </a:t>
            </a:r>
            <a:r>
              <a:rPr lang="fr-CA" b="1" dirty="0" err="1">
                <a:latin typeface="Calibri" panose="020F0502020204030204" pitchFamily="34" charset="0"/>
                <a:cs typeface="Calibri" panose="020F0502020204030204" pitchFamily="34" charset="0"/>
              </a:rPr>
              <a:t>Authorization</a:t>
            </a:r>
            <a:r>
              <a:rPr lang="fr-CA" b="1" dirty="0">
                <a:latin typeface="Calibri" panose="020F0502020204030204" pitchFamily="34" charset="0"/>
                <a:cs typeface="Calibri" panose="020F0502020204030204" pitchFamily="34" charset="0"/>
              </a:rPr>
              <a:t>, EUA)</a:t>
            </a:r>
            <a:r>
              <a:rPr lang="fr-CA" sz="1000" b="1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b="1" dirty="0" err="1">
                <a:latin typeface="Kh Content" panose="02000500000000020004" pitchFamily="2" charset="0"/>
                <a:cs typeface="Kh Content" panose="02000500000000020004" pitchFamily="2" charset="0"/>
              </a:rPr>
              <a:t>ជាអ្វី</a:t>
            </a:r>
            <a:r>
              <a:rPr lang="fr-CA" sz="1000" b="1" dirty="0">
                <a:latin typeface="Kh Content" panose="02000500000000020004" pitchFamily="2" charset="0"/>
                <a:cs typeface="Kh Content" panose="02000500000000020004" pitchFamily="2" charset="0"/>
              </a:rPr>
              <a:t>? </a:t>
            </a:r>
          </a:p>
          <a:p>
            <a:pPr>
              <a:lnSpc>
                <a:spcPts val="1660"/>
              </a:lnSpc>
            </a:pP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FDA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ហរដ្ឋ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ានធ្វើឲ្យវ៉ាក់ស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COVID-19 Pfizer, Moderna,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Janssen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ៅក្រោមយន្ដការ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ហៅថា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EUA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EUA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គឺបានគាំទ្រដោយការប្រកាសរបស់លេខាធិការនៃ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េវាសុខភាព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មនុស្សជាតិ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fr-CA" dirty="0" err="1">
                <a:latin typeface="Calibri" panose="020F0502020204030204" pitchFamily="34" charset="0"/>
                <a:cs typeface="Calibri" panose="020F0502020204030204" pitchFamily="34" charset="0"/>
              </a:rPr>
              <a:t>Health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 and Human Services, HHS)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ថាមានកាលៈទេសៈត្រឹមត្រូវ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ើម្បីប្រើ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​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ឱសថបន្ទាន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ំឡុងពេល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រាតត្បាត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</a:p>
          <a:p>
            <a:pPr>
              <a:lnSpc>
                <a:spcPts val="1660"/>
              </a:lnSpc>
            </a:pPr>
            <a:endParaRPr lang="en-US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>
              <a:lnSpc>
                <a:spcPts val="1660"/>
              </a:lnSpc>
            </a:pP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FDA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ាចនឹងចេញ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EUA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ៅពេលលក្ខណៈខ្លះបានជួប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ែលបញ្ចូលថាមិនមានគ្រប់គ្រាន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ានទទួលស្គាល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មានអ្វី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ផ្សឹងទៀត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ារសំរេចចិត្ដរបស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FDA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គឺយោងលើការមានភស្តុតាងនៃវិទ្យាសាស្រ្ដទាំងស្រុ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ែលបង្ហាញថាផលិតផល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ាចនឹងមានប្រសិទ្ធិភាព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ើម្បីការពារ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 COVID-19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ំឡុងពេលជំងឺរាតត្បាត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ដែលបានដឹ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ហើយអត្ថប្រយោជន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៍    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ៃផលិតផល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គឺលើសលប់ជាងហានិភ័យ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លក្ខណៈទាំងអស់នេះត្រូវតែបានជួប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ើម្បីអនុញ្ញាតឲ្យប្រើផលិតផល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ំឡុ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​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ពេល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រាតត្បាត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7</a:t>
            </a:fld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8461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" name="Google Shape;409;p80:notes"/>
          <p:cNvSpPr>
            <a:spLocks noGrp="1" noRot="1" noChangeAspect="1"/>
          </p:cNvSpPr>
          <p:nvPr>
            <p:ph type="sldImg" idx="2"/>
          </p:nvPr>
        </p:nvSpPr>
        <p:spPr>
          <a:xfrm>
            <a:off x="457200" y="719138"/>
            <a:ext cx="6400800" cy="3600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10" name="Google Shape;410;p80:notes"/>
          <p:cNvSpPr txBox="1">
            <a:spLocks noGrp="1"/>
          </p:cNvSpPr>
          <p:nvPr>
            <p:ph type="body" idx="1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650" tIns="48312" rIns="96650" bIns="48312" anchor="t" anchorCtr="0">
            <a:noAutofit/>
          </a:bodyPr>
          <a:lstStyle/>
          <a:p>
            <a:pPr>
              <a:lnSpc>
                <a:spcPts val="1660"/>
              </a:lnSpc>
            </a:pP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សម្គាល់៖</a:t>
            </a:r>
          </a:p>
          <a:p>
            <a:pPr>
              <a:lnSpc>
                <a:spcPts val="1660"/>
              </a:lnSpc>
            </a:pPr>
            <a:endParaRPr lang="km-KH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>
              <a:lnSpc>
                <a:spcPts val="1660"/>
              </a:lnSpc>
            </a:pP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យើងយល់ពីសារៈសំខាន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ៃការបើកចិត្ដ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ស្មោះត្រ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ំពីសុវត្ថិភាព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ការបង្កើតវ៉ាក់ស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—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ជាពិសេសសំរាប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់</a:t>
            </a:r>
          </a:p>
          <a:p>
            <a:pPr>
              <a:lnSpc>
                <a:spcPts val="1660"/>
              </a:lnSpc>
            </a:pP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ហគមន៍ដែលបានរងទុក្ខ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ពីផលវិបាកនៃការព្យាបាលសុខភាពមិនត្រឹមត្រូវ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</a:p>
          <a:p>
            <a:pPr>
              <a:lnSpc>
                <a:spcPts val="1660"/>
              </a:lnSpc>
            </a:pPr>
            <a:endParaRPr lang="en-US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>
              <a:lnSpc>
                <a:spcPts val="1660"/>
              </a:lnSpc>
            </a:pP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ាជាសារៈសំខាន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ើម្បីដឹងថាវ៉ាក់ស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ឆ្លងកាត់ការធ្វើតេស្ដ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ច្រើនជាងឱសថផ្សេងៗទៀត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 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ុននឹងមានវ៉ាក់សាំងអ្វីមួយ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ំរាប់ប្រើបាន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ាត្រូវតែឆ្លងកាត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ារបង្កើត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ការធ្វើតេស្ដ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យ៉ាងហ្មត់ចត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់។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ារផលិតគឺសំខាន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់ — 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គ្រប់ទាំងដូស្ស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ត្រូវតែមានគុណភាពខ្ពស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យ៉ាងខ្ជាប់ខ្ជួន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ិនតែប៉ុណ្ណោះសោត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ានការធ្វើតេស្ដទូលំទូលាយ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ៅក្នុងវេជ្ជសាស្រ្ដសា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ើម្បីបញ្ជាក់សុវត្ថិភាព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   </a:t>
            </a:r>
          </a:p>
          <a:p>
            <a:pPr>
              <a:lnSpc>
                <a:spcPts val="1660"/>
              </a:lnSpc>
            </a:pPr>
            <a:endParaRPr lang="en-US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defTabSz="948507">
              <a:lnSpc>
                <a:spcPts val="1660"/>
              </a:lnSpc>
              <a:defRPr/>
            </a:pP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្រភព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៖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https://www.cdc.gov/coronavirus/2019-ncov/vaccines/safety.html  </a:t>
            </a:r>
          </a:p>
          <a:p>
            <a:pPr marL="474254" indent="-237127">
              <a:buClr>
                <a:srgbClr val="000000"/>
              </a:buClr>
              <a:buSzPts val="1400"/>
            </a:pPr>
            <a:endParaRPr dirty="0"/>
          </a:p>
        </p:txBody>
      </p:sp>
      <p:sp>
        <p:nvSpPr>
          <p:cNvPr id="411" name="Google Shape;411;p80:notes"/>
          <p:cNvSpPr txBox="1">
            <a:spLocks noGrp="1"/>
          </p:cNvSpPr>
          <p:nvPr>
            <p:ph type="sldNum" idx="12"/>
          </p:nvPr>
        </p:nvSpPr>
        <p:spPr>
          <a:xfrm>
            <a:off x="4143587" y="9119475"/>
            <a:ext cx="3169920" cy="4817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650" tIns="48312" rIns="96650" bIns="48312" anchor="b" anchorCtr="0">
            <a:noAutofit/>
          </a:bodyPr>
          <a:lstStyle/>
          <a:p>
            <a:pPr algn="l">
              <a:buSzPts val="1400"/>
            </a:pPr>
            <a:fld id="{00000000-1234-1234-1234-123412341234}" type="slidenum"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pPr algn="l">
                <a:buSzPts val="1400"/>
              </a:pPr>
              <a:t>8</a:t>
            </a:fld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82002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6" name="Google Shape;426;g79ce8b2f6a_0_5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57200" y="719138"/>
            <a:ext cx="6400800" cy="3600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27" name="Google Shape;427;g79ce8b2f6a_0_51:notes"/>
          <p:cNvSpPr txBox="1">
            <a:spLocks noGrp="1"/>
          </p:cNvSpPr>
          <p:nvPr>
            <p:ph type="body" idx="1"/>
          </p:nvPr>
        </p:nvSpPr>
        <p:spPr>
          <a:xfrm>
            <a:off x="731520" y="4620577"/>
            <a:ext cx="5852035" cy="37806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650" tIns="48312" rIns="96650" bIns="48312" anchor="t" anchorCtr="0">
            <a:noAutofit/>
          </a:bodyPr>
          <a:lstStyle/>
          <a:p>
            <a:pPr indent="-237127" defTabSz="948507">
              <a:lnSpc>
                <a:spcPts val="1700"/>
              </a:lnSpc>
              <a:buClr>
                <a:srgbClr val="000000"/>
              </a:buClr>
              <a:buSzPts val="1400"/>
              <a:defRPr/>
            </a:pPr>
            <a:r>
              <a:rPr lang="km-KH" sz="1000" dirty="0">
                <a:latin typeface="Kh Content" panose="02000500000000020004" pitchFamily="2" charset="0"/>
                <a:cs typeface="Kh Content" panose="02000500000000020004" pitchFamily="2" charset="0"/>
              </a:rPr>
              <a:t>សម្គាល់៖</a:t>
            </a:r>
          </a:p>
          <a:p>
            <a:pPr indent="-237127" defTabSz="948507">
              <a:lnSpc>
                <a:spcPts val="1700"/>
              </a:lnSpc>
              <a:buClr>
                <a:srgbClr val="000000"/>
              </a:buClr>
              <a:buSzPts val="1400"/>
              <a:defRPr/>
            </a:pPr>
            <a:endParaRPr lang="km-KH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indent="-237127" defTabSz="948507">
              <a:lnSpc>
                <a:spcPts val="1700"/>
              </a:lnSpc>
              <a:buClr>
                <a:srgbClr val="000000"/>
              </a:buClr>
              <a:buSzPts val="1400"/>
              <a:defRPr/>
            </a:pP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ុវត្ថិភាព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គឺជាភាពចំបងដ៏កំពូល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ហើយការត្រួតមើលសុវត្ថិភាព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ំរាប់វ៉ាក់ស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COVID-1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9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ានធ្វើយ៉ាងដិតដល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ទូលំទូលាយបំផុត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ៅក្នុងប្រវត្តិសាស្រ្ដសហរដ្ឋ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</a:p>
          <a:p>
            <a:pPr indent="-237127" defTabSz="948507">
              <a:lnSpc>
                <a:spcPts val="1700"/>
              </a:lnSpc>
              <a:buClr>
                <a:srgbClr val="000000"/>
              </a:buClr>
              <a:buSzPts val="1400"/>
              <a:defRPr/>
            </a:pPr>
            <a:endParaRPr lang="en-US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indent="-237127" defTabSz="948507">
              <a:lnSpc>
                <a:spcPts val="1700"/>
              </a:lnSpc>
              <a:spcBef>
                <a:spcPts val="622"/>
              </a:spcBef>
              <a:spcAft>
                <a:spcPts val="622"/>
              </a:spcAft>
              <a:buClr>
                <a:srgbClr val="000000"/>
              </a:buClr>
              <a:buSzPts val="1400"/>
              <a:defRPr/>
            </a:pP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ារផ្អាកប្រើវ៉ាក់ស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J&amp;J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ពី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 4/13/21-4/23/21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គឺជាឧទាហរណ៍មួយ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ៃការត្រួតមើលសុវត្ថិភាព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្នុងចំណាត់ការ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</a:p>
          <a:p>
            <a:pPr marL="177845" indent="-177845">
              <a:lnSpc>
                <a:spcPts val="1700"/>
              </a:lnSpc>
              <a:spcBef>
                <a:spcPts val="622"/>
              </a:spcBef>
              <a:spcAft>
                <a:spcPts val="622"/>
              </a:spcAft>
              <a:buFont typeface="Arial" panose="020B0604020202020204" pitchFamily="34" charset="0"/>
              <a:buChar char="•"/>
            </a:pP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ចេញពីការប្រុងប្រយ័ត្នយ៉ាងខ្ល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ៅ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4/13/21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ផ្នែ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FDA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CDC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ានផ្អាកប្រើវ៉ាក់ស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J&amp;J COVID-19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ពីព្រោះមានមនុស្ស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 6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ា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្នុងបណ្ដា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 7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លាននា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ែលបានទទួលវ៉ាក់ស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J&amp;J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ានកើតការកកឈាមធ្ងន់ធ្ងរ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ួយប្រភេទ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៉ុន្ដែកម្រមាន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្រហែលជា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ាទិត្យ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ន្ទាប់ពីទទួលវ៉ាក់ស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</a:p>
          <a:p>
            <a:pPr marL="177845" indent="-177845">
              <a:lnSpc>
                <a:spcPts val="1700"/>
              </a:lnSpc>
              <a:spcBef>
                <a:spcPts val="622"/>
              </a:spcBef>
              <a:spcAft>
                <a:spcPts val="622"/>
              </a:spcAft>
              <a:buFont typeface="Arial" panose="020B0604020202020204" pitchFamily="34" charset="0"/>
              <a:buChar char="•"/>
            </a:pP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ៅ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4/23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ន្ទាប់ពីការសិក្សា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ពិនិត្យឡើងវិញថែមទៀត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រួមទាំងការប្រជុំនៃ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គណៈកម្មា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​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ធិការ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​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ទីប្រឹក្សាស្ដីពីការអនុវត្ដន៍ចាក់ថ្នាំ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​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ារពាររោគ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របស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CDC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ោះ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FDA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CDC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៏បានបញ្ចប់ការផ្អាក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បានអនុញ្ញាតឲ្យប្រើវ៉ាក់សាំង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J&amp;J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latin typeface="Kh Content" panose="02000500000000020004" pitchFamily="2" charset="0"/>
                <a:cs typeface="Kh Content" panose="02000500000000020004" pitchFamily="2" charset="0"/>
              </a:rPr>
              <a:t>ភ្លាម</a:t>
            </a:r>
            <a:r>
              <a:rPr lang="fr-CA" sz="1000" dirty="0">
                <a:latin typeface="Kh Content" panose="02000500000000020004" pitchFamily="2" charset="0"/>
                <a:cs typeface="Kh Content" panose="02000500000000020004" pitchFamily="2" charset="0"/>
              </a:rPr>
              <a:t>ៗ។</a:t>
            </a:r>
          </a:p>
          <a:p>
            <a:pPr marL="177845" indent="-177845">
              <a:lnSpc>
                <a:spcPts val="1700"/>
              </a:lnSpc>
              <a:spcBef>
                <a:spcPts val="622"/>
              </a:spcBef>
              <a:spcAft>
                <a:spcPts val="622"/>
              </a:spcAft>
              <a:buFont typeface="Arial" panose="020B0604020202020204" pitchFamily="34" charset="0"/>
              <a:buChar char="•"/>
            </a:pPr>
            <a:r>
              <a:rPr lang="fr-CA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DA</a:t>
            </a:r>
            <a:r>
              <a:rPr lang="fr-CA" sz="1000" dirty="0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និង</a:t>
            </a:r>
            <a:r>
              <a:rPr lang="fr-CA" sz="1000" dirty="0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DC</a:t>
            </a:r>
            <a:r>
              <a:rPr lang="fr-CA" sz="1000" dirty="0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មានទំនុកចិត្ដ</a:t>
            </a:r>
            <a:r>
              <a:rPr lang="fr-CA" sz="1000" dirty="0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ថាវ៉ាក់សាំងនេះមានសុវត្ថិភាព</a:t>
            </a:r>
            <a:r>
              <a:rPr lang="fr-CA" sz="1000" dirty="0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និងប្រសិទ្ធិភាព</a:t>
            </a:r>
            <a:r>
              <a:rPr lang="fr-CA" sz="1000" dirty="0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ក្នុង</a:t>
            </a:r>
            <a:r>
              <a:rPr lang="km-KH" sz="1000" dirty="0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ការការ</a:t>
            </a:r>
            <a:r>
              <a:rPr lang="fr-CA" sz="1000" dirty="0" err="1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ពារ</a:t>
            </a:r>
            <a:r>
              <a:rPr lang="fr-CA" sz="1000" dirty="0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VID-19 </a:t>
            </a:r>
            <a:r>
              <a:rPr lang="fr-CA" sz="1000" dirty="0" err="1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ហើយថា</a:t>
            </a:r>
            <a:r>
              <a:rPr lang="fr-CA" sz="1000" dirty="0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អ្វីដែលបានដឹង</a:t>
            </a:r>
            <a:r>
              <a:rPr lang="fr-CA" sz="1000" dirty="0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និងអត្ថប្រយោជន៍របស់វ៉ាក់សាំងអាចមាន</a:t>
            </a:r>
            <a:r>
              <a:rPr lang="fr-CA" sz="1000" dirty="0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គឺលើសលប់ជាងអ្វីដែលបានដឹង</a:t>
            </a:r>
            <a:r>
              <a:rPr lang="fr-CA" sz="1000" dirty="0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និងហានិភ័យរបស់វាអាចមាន</a:t>
            </a:r>
            <a:r>
              <a:rPr lang="fr-CA" sz="1000" dirty="0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ក្នុងបុគ្គលអាយុ</a:t>
            </a:r>
            <a:r>
              <a:rPr lang="fr-CA" sz="1000" dirty="0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 </a:t>
            </a:r>
            <a:r>
              <a:rPr lang="fr-CA" sz="1000" dirty="0" err="1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ឆ្នាំ</a:t>
            </a:r>
            <a:r>
              <a:rPr lang="fr-CA" sz="1000" dirty="0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000" dirty="0" err="1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និងចាស់ជាង</a:t>
            </a:r>
            <a:r>
              <a:rPr lang="fr-CA" sz="1000" dirty="0">
                <a:solidFill>
                  <a:srgbClr val="000000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</a:p>
          <a:p>
            <a:pPr indent="-237127" defTabSz="948507">
              <a:buClr>
                <a:srgbClr val="000000"/>
              </a:buClr>
              <a:buSzPts val="1400"/>
              <a:defRPr/>
            </a:pPr>
            <a:endParaRPr lang="en-US" dirty="0"/>
          </a:p>
          <a:p>
            <a:pPr marL="474254" indent="-237127">
              <a:buClr>
                <a:srgbClr val="000000"/>
              </a:buClr>
              <a:buSzPts val="1400"/>
            </a:pPr>
            <a:endParaRPr dirty="0"/>
          </a:p>
        </p:txBody>
      </p:sp>
      <p:sp>
        <p:nvSpPr>
          <p:cNvPr id="428" name="Google Shape;428;g79ce8b2f6a_0_51:notes"/>
          <p:cNvSpPr txBox="1">
            <a:spLocks noGrp="1"/>
          </p:cNvSpPr>
          <p:nvPr>
            <p:ph type="sldNum" idx="12"/>
          </p:nvPr>
        </p:nvSpPr>
        <p:spPr>
          <a:xfrm>
            <a:off x="4143588" y="9119474"/>
            <a:ext cx="3169878" cy="4817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650" tIns="48312" rIns="96650" bIns="48312" anchor="b" anchorCtr="0">
            <a:noAutofit/>
          </a:bodyPr>
          <a:lstStyle/>
          <a:p>
            <a:pPr algn="l">
              <a:buSzPts val="1400"/>
            </a:pPr>
            <a:fld id="{00000000-1234-1234-1234-123412341234}" type="slidenum"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pPr algn="l">
                <a:buSzPts val="1400"/>
              </a:pPr>
              <a:t>9</a:t>
            </a:fld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6600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.vml"/><Relationship Id="rId6" Type="http://schemas.openxmlformats.org/officeDocument/2006/relationships/tags" Target="../tags/tag27.xml"/><Relationship Id="rId11" Type="http://schemas.openxmlformats.org/officeDocument/2006/relationships/image" Target="../media/image8.emf"/><Relationship Id="rId5" Type="http://schemas.openxmlformats.org/officeDocument/2006/relationships/tags" Target="../tags/tag26.xml"/><Relationship Id="rId10" Type="http://schemas.openxmlformats.org/officeDocument/2006/relationships/oleObject" Target="../embeddings/oleObject2.bin"/><Relationship Id="rId4" Type="http://schemas.openxmlformats.org/officeDocument/2006/relationships/tags" Target="../tags/tag25.xml"/><Relationship Id="rId9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" Type="http://schemas.openxmlformats.org/officeDocument/2006/relationships/vmlDrawing" Target="../drawings/vmlDrawing3.vml"/><Relationship Id="rId6" Type="http://schemas.openxmlformats.org/officeDocument/2006/relationships/tags" Target="../tags/tag34.xml"/><Relationship Id="rId11" Type="http://schemas.openxmlformats.org/officeDocument/2006/relationships/image" Target="../media/image8.emf"/><Relationship Id="rId5" Type="http://schemas.openxmlformats.org/officeDocument/2006/relationships/tags" Target="../tags/tag33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2.xml"/><Relationship Id="rId9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image" Target="../media/image7.emf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12" Type="http://schemas.openxmlformats.org/officeDocument/2006/relationships/oleObject" Target="../embeddings/oleObject4.bin"/><Relationship Id="rId2" Type="http://schemas.openxmlformats.org/officeDocument/2006/relationships/tags" Target="../tags/tag37.xml"/><Relationship Id="rId1" Type="http://schemas.openxmlformats.org/officeDocument/2006/relationships/vmlDrawing" Target="../drawings/vmlDrawing4.vml"/><Relationship Id="rId6" Type="http://schemas.openxmlformats.org/officeDocument/2006/relationships/tags" Target="../tags/tag41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40.xml"/><Relationship Id="rId10" Type="http://schemas.openxmlformats.org/officeDocument/2006/relationships/tags" Target="../tags/tag45.xml"/><Relationship Id="rId4" Type="http://schemas.openxmlformats.org/officeDocument/2006/relationships/tags" Target="../tags/tag39.xml"/><Relationship Id="rId9" Type="http://schemas.openxmlformats.org/officeDocument/2006/relationships/tags" Target="../tags/tag44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5.vml"/><Relationship Id="rId6" Type="http://schemas.openxmlformats.org/officeDocument/2006/relationships/tags" Target="../tags/tag50.xml"/><Relationship Id="rId11" Type="http://schemas.openxmlformats.org/officeDocument/2006/relationships/image" Target="../media/image8.emf"/><Relationship Id="rId5" Type="http://schemas.openxmlformats.org/officeDocument/2006/relationships/tags" Target="../tags/tag49.xml"/><Relationship Id="rId10" Type="http://schemas.openxmlformats.org/officeDocument/2006/relationships/oleObject" Target="../embeddings/oleObject5.bin"/><Relationship Id="rId4" Type="http://schemas.openxmlformats.org/officeDocument/2006/relationships/tags" Target="../tags/tag48.xml"/><Relationship Id="rId9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vmlDrawing" Target="../drawings/vmlDrawing6.vml"/><Relationship Id="rId6" Type="http://schemas.openxmlformats.org/officeDocument/2006/relationships/tags" Target="../tags/tag57.xml"/><Relationship Id="rId11" Type="http://schemas.openxmlformats.org/officeDocument/2006/relationships/image" Target="../media/image8.emf"/><Relationship Id="rId5" Type="http://schemas.openxmlformats.org/officeDocument/2006/relationships/tags" Target="../tags/tag56.xml"/><Relationship Id="rId10" Type="http://schemas.openxmlformats.org/officeDocument/2006/relationships/oleObject" Target="../embeddings/oleObject6.bin"/><Relationship Id="rId4" Type="http://schemas.openxmlformats.org/officeDocument/2006/relationships/tags" Target="../tags/tag55.xml"/><Relationship Id="rId9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2" Type="http://schemas.openxmlformats.org/officeDocument/2006/relationships/tags" Target="../tags/tag60.xml"/><Relationship Id="rId1" Type="http://schemas.openxmlformats.org/officeDocument/2006/relationships/vmlDrawing" Target="../drawings/vmlDrawing7.vml"/><Relationship Id="rId6" Type="http://schemas.openxmlformats.org/officeDocument/2006/relationships/tags" Target="../tags/tag64.xml"/><Relationship Id="rId11" Type="http://schemas.openxmlformats.org/officeDocument/2006/relationships/image" Target="../media/image8.emf"/><Relationship Id="rId5" Type="http://schemas.openxmlformats.org/officeDocument/2006/relationships/tags" Target="../tags/tag63.xml"/><Relationship Id="rId10" Type="http://schemas.openxmlformats.org/officeDocument/2006/relationships/oleObject" Target="../embeddings/oleObject7.bin"/><Relationship Id="rId4" Type="http://schemas.openxmlformats.org/officeDocument/2006/relationships/tags" Target="../tags/tag62.xml"/><Relationship Id="rId9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image" Target="../media/image8.emf"/><Relationship Id="rId2" Type="http://schemas.openxmlformats.org/officeDocument/2006/relationships/tags" Target="../tags/tag67.xml"/><Relationship Id="rId1" Type="http://schemas.openxmlformats.org/officeDocument/2006/relationships/vmlDrawing" Target="../drawings/vmlDrawing8.vml"/><Relationship Id="rId6" Type="http://schemas.openxmlformats.org/officeDocument/2006/relationships/tags" Target="../tags/tag71.xml"/><Relationship Id="rId11" Type="http://schemas.openxmlformats.org/officeDocument/2006/relationships/oleObject" Target="../embeddings/oleObject8.bin"/><Relationship Id="rId5" Type="http://schemas.openxmlformats.org/officeDocument/2006/relationships/tags" Target="../tags/tag70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69.xml"/><Relationship Id="rId9" Type="http://schemas.openxmlformats.org/officeDocument/2006/relationships/tags" Target="../tags/tag74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13" Type="http://schemas.openxmlformats.org/officeDocument/2006/relationships/image" Target="../media/image9.emf"/><Relationship Id="rId3" Type="http://schemas.openxmlformats.org/officeDocument/2006/relationships/tags" Target="../tags/tag76.xml"/><Relationship Id="rId7" Type="http://schemas.openxmlformats.org/officeDocument/2006/relationships/tags" Target="../tags/tag80.xml"/><Relationship Id="rId12" Type="http://schemas.openxmlformats.org/officeDocument/2006/relationships/oleObject" Target="../embeddings/oleObject9.bin"/><Relationship Id="rId2" Type="http://schemas.openxmlformats.org/officeDocument/2006/relationships/tags" Target="../tags/tag75.xml"/><Relationship Id="rId1" Type="http://schemas.openxmlformats.org/officeDocument/2006/relationships/vmlDrawing" Target="../drawings/vmlDrawing9.vml"/><Relationship Id="rId6" Type="http://schemas.openxmlformats.org/officeDocument/2006/relationships/tags" Target="../tags/tag79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78.xml"/><Relationship Id="rId10" Type="http://schemas.openxmlformats.org/officeDocument/2006/relationships/tags" Target="../tags/tag83.xml"/><Relationship Id="rId4" Type="http://schemas.openxmlformats.org/officeDocument/2006/relationships/tags" Target="../tags/tag77.xml"/><Relationship Id="rId9" Type="http://schemas.openxmlformats.org/officeDocument/2006/relationships/tags" Target="../tags/tag8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13" Type="http://schemas.openxmlformats.org/officeDocument/2006/relationships/image" Target="../media/image9.emf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oleObject" Target="../embeddings/oleObject10.bin"/><Relationship Id="rId2" Type="http://schemas.openxmlformats.org/officeDocument/2006/relationships/tags" Target="../tags/tag84.xml"/><Relationship Id="rId1" Type="http://schemas.openxmlformats.org/officeDocument/2006/relationships/vmlDrawing" Target="../drawings/vmlDrawing10.vml"/><Relationship Id="rId6" Type="http://schemas.openxmlformats.org/officeDocument/2006/relationships/tags" Target="../tags/tag88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87.xml"/><Relationship Id="rId10" Type="http://schemas.openxmlformats.org/officeDocument/2006/relationships/tags" Target="../tags/tag92.xml"/><Relationship Id="rId4" Type="http://schemas.openxmlformats.org/officeDocument/2006/relationships/tags" Target="../tags/tag86.xml"/><Relationship Id="rId9" Type="http://schemas.openxmlformats.org/officeDocument/2006/relationships/tags" Target="../tags/tag9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13" Type="http://schemas.openxmlformats.org/officeDocument/2006/relationships/image" Target="../media/image8.emf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12" Type="http://schemas.openxmlformats.org/officeDocument/2006/relationships/oleObject" Target="../embeddings/oleObject11.bin"/><Relationship Id="rId2" Type="http://schemas.openxmlformats.org/officeDocument/2006/relationships/tags" Target="../tags/tag93.xml"/><Relationship Id="rId1" Type="http://schemas.openxmlformats.org/officeDocument/2006/relationships/vmlDrawing" Target="../drawings/vmlDrawing11.vml"/><Relationship Id="rId6" Type="http://schemas.openxmlformats.org/officeDocument/2006/relationships/tags" Target="../tags/tag97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96.xml"/><Relationship Id="rId10" Type="http://schemas.openxmlformats.org/officeDocument/2006/relationships/tags" Target="../tags/tag101.xml"/><Relationship Id="rId4" Type="http://schemas.openxmlformats.org/officeDocument/2006/relationships/tags" Target="../tags/tag95.xml"/><Relationship Id="rId9" Type="http://schemas.openxmlformats.org/officeDocument/2006/relationships/tags" Target="../tags/tag100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108.xml"/><Relationship Id="rId13" Type="http://schemas.openxmlformats.org/officeDocument/2006/relationships/image" Target="../media/image8.emf"/><Relationship Id="rId3" Type="http://schemas.openxmlformats.org/officeDocument/2006/relationships/tags" Target="../tags/tag103.xml"/><Relationship Id="rId7" Type="http://schemas.openxmlformats.org/officeDocument/2006/relationships/tags" Target="../tags/tag107.xml"/><Relationship Id="rId12" Type="http://schemas.openxmlformats.org/officeDocument/2006/relationships/oleObject" Target="../embeddings/oleObject12.bin"/><Relationship Id="rId2" Type="http://schemas.openxmlformats.org/officeDocument/2006/relationships/tags" Target="../tags/tag102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06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105.xml"/><Relationship Id="rId10" Type="http://schemas.openxmlformats.org/officeDocument/2006/relationships/tags" Target="../tags/tag110.xml"/><Relationship Id="rId4" Type="http://schemas.openxmlformats.org/officeDocument/2006/relationships/tags" Target="../tags/tag104.xml"/><Relationship Id="rId9" Type="http://schemas.openxmlformats.org/officeDocument/2006/relationships/tags" Target="../tags/tag109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image" Target="../media/image9.emf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12" Type="http://schemas.openxmlformats.org/officeDocument/2006/relationships/oleObject" Target="../embeddings/oleObject13.bin"/><Relationship Id="rId2" Type="http://schemas.openxmlformats.org/officeDocument/2006/relationships/tags" Target="../tags/tag111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15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114.xml"/><Relationship Id="rId10" Type="http://schemas.openxmlformats.org/officeDocument/2006/relationships/tags" Target="../tags/tag119.xml"/><Relationship Id="rId4" Type="http://schemas.openxmlformats.org/officeDocument/2006/relationships/tags" Target="../tags/tag113.xml"/><Relationship Id="rId9" Type="http://schemas.openxmlformats.org/officeDocument/2006/relationships/tags" Target="../tags/tag118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126.xml"/><Relationship Id="rId3" Type="http://schemas.openxmlformats.org/officeDocument/2006/relationships/tags" Target="../tags/tag121.xml"/><Relationship Id="rId7" Type="http://schemas.openxmlformats.org/officeDocument/2006/relationships/tags" Target="../tags/tag125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24.xml"/><Relationship Id="rId11" Type="http://schemas.openxmlformats.org/officeDocument/2006/relationships/image" Target="../media/image7.emf"/><Relationship Id="rId5" Type="http://schemas.openxmlformats.org/officeDocument/2006/relationships/tags" Target="../tags/tag123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122.xml"/><Relationship Id="rId9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28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31.xml"/><Relationship Id="rId5" Type="http://schemas.openxmlformats.org/officeDocument/2006/relationships/tags" Target="../tags/tag130.xml"/><Relationship Id="rId4" Type="http://schemas.openxmlformats.org/officeDocument/2006/relationships/tags" Target="../tags/tag129.xml"/><Relationship Id="rId9" Type="http://schemas.openxmlformats.org/officeDocument/2006/relationships/image" Target="../media/image8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7" Type="http://schemas.openxmlformats.org/officeDocument/2006/relationships/image" Target="../media/image8.emf"/><Relationship Id="rId2" Type="http://schemas.openxmlformats.org/officeDocument/2006/relationships/tags" Target="../tags/tag132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3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r Thank You Slide : 150th Logo">
    <p:bg>
      <p:bgPr>
        <a:solidFill>
          <a:srgbClr val="4376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4CC38585-9175-5F41-B983-E626A8B41D81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01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ight Arrow 17">
            <a:extLst>
              <a:ext uri="{FF2B5EF4-FFF2-40B4-BE49-F238E27FC236}">
                <a16:creationId xmlns:a16="http://schemas.microsoft.com/office/drawing/2014/main" id="{046DACA1-5854-FE4E-B523-7C1C85892163}"/>
              </a:ext>
            </a:extLst>
          </p:cNvPr>
          <p:cNvSpPr/>
          <p:nvPr userDrawn="1"/>
        </p:nvSpPr>
        <p:spPr>
          <a:xfrm>
            <a:off x="-1707848" y="791683"/>
            <a:ext cx="193647" cy="168613"/>
          </a:xfrm>
          <a:prstGeom prst="rightArrow">
            <a:avLst/>
          </a:prstGeom>
          <a:solidFill>
            <a:sysClr val="windowText" lastClr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57BF16A-46A2-2C4D-B679-429BA6325698}"/>
              </a:ext>
            </a:extLst>
          </p:cNvPr>
          <p:cNvSpPr txBox="1"/>
          <p:nvPr userDrawn="1"/>
        </p:nvSpPr>
        <p:spPr>
          <a:xfrm>
            <a:off x="1768634" y="173767"/>
            <a:ext cx="10423375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 dirty="0">
                <a:ln w="12700">
                  <a:solidFill>
                    <a:schemeClr val="tx1"/>
                  </a:solidFill>
                  <a:prstDash val="solid"/>
                </a:ln>
                <a:solidFill>
                  <a:srgbClr val="FFFFFF"/>
                </a:solidFill>
                <a:effectLst/>
                <a:uLnTx/>
                <a:uFillTx/>
              </a:rPr>
              <a:t>  Massachusetts Department of Public Health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B9E6C06E-03B8-7949-8144-A02BF1F0C7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3521" y="15"/>
            <a:ext cx="1185447" cy="2487495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4764208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5B8B53-90FF-4B4A-8E39-998C0E1563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98DCD7-FE2E-4ED5-91E3-FCACD0BA21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7FDC17-09CF-4151-9D91-2437066815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1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E33274-C746-4730-B550-5ABDCA9323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3B407E-36DF-4E17-9DE8-1A9557FAD9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09762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D00E4E-288D-4844-BD96-1CB09ACB6A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89D781-AD92-424A-89CA-AE7512FD8F8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9E8A40A-BCF2-45E9-ABE8-52F81B2D6D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8E643A1-836C-4217-A9CC-92209A328B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1/2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A321261-AC99-4E20-84F9-63B0CBB01B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65C488-2E7E-4366-966A-2E9747808E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51083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21EFD3-1EF5-467C-9F9A-F992F96139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49032D-29D7-4055-A58D-32C818DD35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62F5B48-B437-4764-8A20-C06E433B35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23693-01E2-4A43-B18A-708C72CBCD0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15201AE-B22B-4125-9B7A-9D75D47FA5D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CCD42B9-52C6-4FFE-AEEB-A6A7FE0B80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1/28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F943F02-4FAB-4B2E-B1D2-5B657AD19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E52434-DD28-4162-81DD-6EA67C19A3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01231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B3BF78-FBCC-45C7-B31D-E4F3C07C79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B67FBE-FC23-4D8D-AC8F-998044EED5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1/2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F6FBE9F-CC87-4F2D-AFB2-A783706E60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61D058-1BD7-4174-AA50-5FFF83D130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36290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24542A7-C082-4CFA-AA73-33681F1CE8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1/2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D9DB6BD-DBA1-4A80-907B-D03CAEEF59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CBF653-3E4E-4CF4-B628-394E9B463E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4584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C1BED2-26AE-47E3-A613-5EDD32E3D1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6BDF38-40D7-48E2-9014-1D9E59C515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D7AB12-3217-4BD1-8A6F-22EA4D4130B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293CD9-85FC-4B00-AD61-AB97952BC9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1/2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607B67F-56C9-4D00-9465-4F3E2123D5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800BB0B-2BA9-4E97-A244-DF9A3155FA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16177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F93323-0A85-4290-A635-1BC59E8347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8B57170-E62F-48B7-9469-4F788733EFA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2D10CCC-7279-4D26-A26D-A12C434441E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66A7469-F7C0-43A5-BB85-C848BFB0D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1/2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4B19B1-55E2-41A7-A28D-00D5C23155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EC9747-F606-42BA-BDB0-CA8D4D021D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41590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2621C0-39E0-44C2-9A9F-9437DEB0EC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A59E6C2-ABFA-4F8B-8826-13D6CD5BFC7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C34CD8-47B7-43D7-AA30-992C535809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1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369878-CBF5-4254-9CF4-B90DDE318D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C55C78-9714-478D-A579-3DBA411022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56538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841A757-A595-43FF-B487-0A2487E6473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782295D-F814-474C-82A9-74684586749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53A2CB6-F237-4D9D-934A-7A86B3A552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1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ABAD40-2D77-4D91-ACF1-97A11C17E6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7D05F6-F9C5-43F0-9868-4C6F658784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62813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ty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01E840A-BCBE-4B40-B158-B16879D32C9F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BB607E6-0B1F-BB4A-9794-46A0CA431F4F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AFA3409-650A-E04D-9C6C-C839AFCA4D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6534" y="6492504"/>
            <a:ext cx="2736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F3A1742-1D21-6E49-B1F6-D58AC8A01F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1144" y="6510528"/>
            <a:ext cx="3816489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20358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r Thank You Slide : Traditional Logo">
    <p:bg>
      <p:bgPr>
        <a:solidFill>
          <a:srgbClr val="4376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4CC38585-9175-5F41-B983-E626A8B41D81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01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ight Arrow 17">
            <a:extLst>
              <a:ext uri="{FF2B5EF4-FFF2-40B4-BE49-F238E27FC236}">
                <a16:creationId xmlns:a16="http://schemas.microsoft.com/office/drawing/2014/main" id="{046DACA1-5854-FE4E-B523-7C1C85892163}"/>
              </a:ext>
            </a:extLst>
          </p:cNvPr>
          <p:cNvSpPr/>
          <p:nvPr userDrawn="1"/>
        </p:nvSpPr>
        <p:spPr>
          <a:xfrm>
            <a:off x="-1707848" y="791683"/>
            <a:ext cx="193647" cy="168613"/>
          </a:xfrm>
          <a:prstGeom prst="rightArrow">
            <a:avLst/>
          </a:prstGeom>
          <a:solidFill>
            <a:sysClr val="windowText" lastClr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57BF16A-46A2-2C4D-B679-429BA6325698}"/>
              </a:ext>
            </a:extLst>
          </p:cNvPr>
          <p:cNvSpPr txBox="1"/>
          <p:nvPr userDrawn="1"/>
        </p:nvSpPr>
        <p:spPr>
          <a:xfrm>
            <a:off x="1768634" y="173767"/>
            <a:ext cx="10423375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 dirty="0">
                <a:ln w="12700">
                  <a:solidFill>
                    <a:schemeClr val="tx1"/>
                  </a:solidFill>
                  <a:prstDash val="solid"/>
                </a:ln>
                <a:solidFill>
                  <a:srgbClr val="FFFFFF"/>
                </a:solidFill>
                <a:effectLst/>
                <a:uLnTx/>
                <a:uFillTx/>
              </a:rPr>
              <a:t>  Massachusetts Department of Public Health</a:t>
            </a:r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761AAA9F-9A39-9A4E-BFBD-0A487B5455F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1392" y="233425"/>
            <a:ext cx="1247157" cy="12561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084703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F9F2487-C04B-4E89-A85F-F145412FF7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1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F9F2487-C04B-4E89-A85F-F145412FF7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956CE3-D200-4AF9-99E3-3BD7CEED13D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EC187452-EF26-4A49-8688-4231C110BE0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49486" y="2406303"/>
            <a:ext cx="9983836" cy="52322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3400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Documenttype">
            <a:extLst>
              <a:ext uri="{FF2B5EF4-FFF2-40B4-BE49-F238E27FC236}">
                <a16:creationId xmlns:a16="http://schemas.microsoft.com/office/drawing/2014/main" id="{352FE74A-18F1-4E97-9130-944A69675F90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49485" y="4539678"/>
            <a:ext cx="9981467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D5DF6FA-4E98-4564-8E2E-E3C01BE738E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49485" y="3611491"/>
            <a:ext cx="9981467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600" dirty="0"/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Documenttype">
            <a:extLst>
              <a:ext uri="{FF2B5EF4-FFF2-40B4-BE49-F238E27FC236}">
                <a16:creationId xmlns:a16="http://schemas.microsoft.com/office/drawing/2014/main" id="{C75C7875-9F5B-4F8C-8843-0F48FA31017B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7924801" y="579111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1050" i="1" dirty="0"/>
              <a:t>“This deck does not constitute legal, medical, accounting, tax, or other regulated advice, such as professional advice normally provided by licensed or certified practitioners.”</a:t>
            </a:r>
          </a:p>
        </p:txBody>
      </p:sp>
      <p:sp>
        <p:nvSpPr>
          <p:cNvPr id="11" name="Documenttype">
            <a:extLst>
              <a:ext uri="{FF2B5EF4-FFF2-40B4-BE49-F238E27FC236}">
                <a16:creationId xmlns:a16="http://schemas.microsoft.com/office/drawing/2014/main" id="{0B8B8608-922F-4E1E-AED3-C353CE198888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49486" y="579111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1050" i="1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628968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F9F2487-C04B-4E89-A85F-F145412FF7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5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F9F2487-C04B-4E89-A85F-F145412FF7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956CE3-D200-4AF9-99E3-3BD7CEED13D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EC187452-EF26-4A49-8688-4231C110BE0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49486" y="2406303"/>
            <a:ext cx="9983836" cy="52322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3400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Documenttype">
            <a:extLst>
              <a:ext uri="{FF2B5EF4-FFF2-40B4-BE49-F238E27FC236}">
                <a16:creationId xmlns:a16="http://schemas.microsoft.com/office/drawing/2014/main" id="{352FE74A-18F1-4E97-9130-944A69675F90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49485" y="4539678"/>
            <a:ext cx="9981467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D5DF6FA-4E98-4564-8E2E-E3C01BE738E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49485" y="3611491"/>
            <a:ext cx="9981467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600" dirty="0"/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Documenttype">
            <a:extLst>
              <a:ext uri="{FF2B5EF4-FFF2-40B4-BE49-F238E27FC236}">
                <a16:creationId xmlns:a16="http://schemas.microsoft.com/office/drawing/2014/main" id="{C75C7875-9F5B-4F8C-8843-0F48FA31017B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7924801" y="579111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1050" i="1" dirty="0"/>
              <a:t>“This deck does not constitute legal, medical, accounting, tax, or other regulated advice, such as professional advice normally provided by licensed or certified practitioners.”</a:t>
            </a:r>
          </a:p>
        </p:txBody>
      </p:sp>
      <p:sp>
        <p:nvSpPr>
          <p:cNvPr id="11" name="Documenttype">
            <a:extLst>
              <a:ext uri="{FF2B5EF4-FFF2-40B4-BE49-F238E27FC236}">
                <a16:creationId xmlns:a16="http://schemas.microsoft.com/office/drawing/2014/main" id="{0B8B8608-922F-4E1E-AED3-C353CE198888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49486" y="579111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1050" i="1" dirty="0"/>
              <a:t>CONFIDENTIA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3E43528-CD26-468A-9D6D-59D3816B67D2}"/>
              </a:ext>
            </a:extLst>
          </p:cNvPr>
          <p:cNvSpPr txBox="1"/>
          <p:nvPr userDrawn="1"/>
        </p:nvSpPr>
        <p:spPr>
          <a:xfrm>
            <a:off x="11394019" y="6435725"/>
            <a:ext cx="278341" cy="152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fld id="{32AC5E49-6859-42BA-BBE8-CE1F53348EC2}" type="slidenum">
              <a:rPr lang="en-US" sz="1000" b="0" i="0" baseline="0" smtClean="0"/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t>‹#›</a:t>
            </a:fld>
            <a:endParaRPr lang="en-US" sz="1000" b="0" i="0" baseline="0" dirty="0"/>
          </a:p>
        </p:txBody>
      </p:sp>
    </p:spTree>
    <p:extLst>
      <p:ext uri="{BB962C8B-B14F-4D97-AF65-F5344CB8AC3E}">
        <p14:creationId xmlns:p14="http://schemas.microsoft.com/office/powerpoint/2010/main" val="38117981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 not remove" hidden="1">
            <a:extLst>
              <a:ext uri="{FF2B5EF4-FFF2-40B4-BE49-F238E27FC236}">
                <a16:creationId xmlns:a16="http://schemas.microsoft.com/office/drawing/2014/main" id="{975D1B44-661B-4F7B-B8A0-9C458417D60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933" cy="12700"/>
          </a:xfrm>
          <a:prstGeom prst="octagon">
            <a:avLst/>
          </a:prstGeom>
          <a:noFill/>
          <a:ln w="6350" cap="sq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tx1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306E269-83F5-4510-A180-109E926BB4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9" name="think-cell Slide" r:id="rId12" imgW="572" imgH="588" progId="TCLayout.ActiveDocument.1">
                  <p:embed/>
                </p:oleObj>
              </mc:Choice>
              <mc:Fallback>
                <p:oleObj name="think-cell Slide" r:id="rId12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306E269-83F5-4510-A180-109E926BB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6743208-2407-42A5-AA96-0B30899A9CB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3. Subtitle">
            <a:extLst>
              <a:ext uri="{FF2B5EF4-FFF2-40B4-BE49-F238E27FC236}">
                <a16:creationId xmlns:a16="http://schemas.microsoft.com/office/drawing/2014/main" id="{EE021D34-D41C-4EE9-A72D-F8D1E4D6942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525929"/>
            <a:ext cx="11082528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6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7" name="2. Slide Title">
            <a:extLst>
              <a:ext uri="{FF2B5EF4-FFF2-40B4-BE49-F238E27FC236}">
                <a16:creationId xmlns:a16="http://schemas.microsoft.com/office/drawing/2014/main" id="{2A02F3DA-248E-4A50-B54D-BAD18BAB3254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3736"/>
            <a:ext cx="11082528" cy="338554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3D1A1691-03F4-4B0C-8CAB-F8163BA5487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2D9802C1-17F2-4D5F-804F-01991074A31F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DDE7FD00-47B4-4101-9C87-415DAC08A938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Documenttype">
            <a:extLst>
              <a:ext uri="{FF2B5EF4-FFF2-40B4-BE49-F238E27FC236}">
                <a16:creationId xmlns:a16="http://schemas.microsoft.com/office/drawing/2014/main" id="{335AEFB6-D0FB-42BD-A7D9-B038003F9038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27326727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B2D7514F-25FA-4E78-87EA-9310B63155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3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B2D7514F-25FA-4E78-87EA-9310B63155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A22841F1-1D64-4B85-BE8E-90E9A69032D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34B9D0F-511D-4CA0-B397-BC4944905EF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A8B4F948-0FE2-4D04-9E39-993C069D179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CB91F29-3E8E-4E50-9B98-43F571F5A08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9" name="2. Slide Title">
            <a:extLst>
              <a:ext uri="{FF2B5EF4-FFF2-40B4-BE49-F238E27FC236}">
                <a16:creationId xmlns:a16="http://schemas.microsoft.com/office/drawing/2014/main" id="{EEB17CCB-26D9-483F-95BA-B527BFDD8A81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06565"/>
            <a:ext cx="3813048" cy="677108"/>
          </a:xfrm>
        </p:spPr>
        <p:txBody>
          <a:bodyPr anchor="t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Documenttype">
            <a:extLst>
              <a:ext uri="{FF2B5EF4-FFF2-40B4-BE49-F238E27FC236}">
                <a16:creationId xmlns:a16="http://schemas.microsoft.com/office/drawing/2014/main" id="{0ABC9AF6-5160-4451-8ECE-0567926D2BD3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0332753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F2127110-9E20-4E63-ACC1-B73E30E4EF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7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F2127110-9E20-4E63-ACC1-B73E30E4EF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EFDF5F6E-91B7-43FD-B50F-BF43CDA9D08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372AF80-95E2-4967-843F-6B78079F3DAC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B107E86E-11CB-41EA-8315-43579BB9C69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6C43D9FF-C745-43A0-B707-D5AB591FB4EC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544AA57B-050A-470F-B9D0-A7EB19B84B12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3090450"/>
            <a:ext cx="5065776" cy="677108"/>
          </a:xfr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Documenttype">
            <a:extLst>
              <a:ext uri="{FF2B5EF4-FFF2-40B4-BE49-F238E27FC236}">
                <a16:creationId xmlns:a16="http://schemas.microsoft.com/office/drawing/2014/main" id="{D5D9F919-7521-44EA-9A91-4EC8F5D22109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49426700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6E78EB6-BD2E-4D6E-862A-ED6E403B39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1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6E78EB6-BD2E-4D6E-862A-ED6E403B39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BAE6BAF-DF7E-4BB6-8200-BAE77C25D76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6FE1FF87-A5BB-4972-8F6E-73AA93FD3E6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27C40733-AAB6-4B1C-9ABF-846569264BB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38FBD4B-CFE7-4BEF-A65B-0A0DFEA034F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984AEBFE-694A-4920-8CC4-377AC0DC09A3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4919246"/>
            <a:ext cx="11082528" cy="338554"/>
          </a:xfrm>
        </p:spPr>
        <p:txBody>
          <a:bodyPr anchor="b"/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Documenttype">
            <a:extLst>
              <a:ext uri="{FF2B5EF4-FFF2-40B4-BE49-F238E27FC236}">
                <a16:creationId xmlns:a16="http://schemas.microsoft.com/office/drawing/2014/main" id="{4F0D16F9-FC38-440D-888F-B825EE88DEBB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11571645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22EA9AE-E627-47C3-91DC-8CA9CDA2B2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5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22EA9AE-E627-47C3-91DC-8CA9CDA2B2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A21939BA-D839-448F-8D61-AD5761E2CB6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66AA477A-2870-4EE9-86E9-448D3B9BAF8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6C9713CF-4FEA-4739-B0A0-6B196442AEE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128368CE-BC61-4E6B-9355-7EB40FD80480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DDFB2F31-2EDC-46B3-BDCC-C30160A548A0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1505712" y="3841050"/>
            <a:ext cx="9180576" cy="330796"/>
          </a:xfrm>
        </p:spPr>
        <p:txBody>
          <a:bodyPr anchor="b" anchorCtr="0">
            <a:spAutoFit/>
          </a:bodyPr>
          <a:lstStyle>
            <a:lvl1pPr>
              <a:lnSpc>
                <a:spcPct val="105000"/>
              </a:lnSpc>
              <a:defRPr sz="2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09099F88-5FFB-4FF9-8B62-5EF51181A82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8"/>
            </p:custDataLst>
          </p:nvPr>
        </p:nvSpPr>
        <p:spPr>
          <a:xfrm>
            <a:off x="1505712" y="4284631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Documenttype">
            <a:extLst>
              <a:ext uri="{FF2B5EF4-FFF2-40B4-BE49-F238E27FC236}">
                <a16:creationId xmlns:a16="http://schemas.microsoft.com/office/drawing/2014/main" id="{5D34B3BD-8BCA-4033-B144-D029D5A61619}"/>
              </a:ext>
            </a:extLst>
          </p:cNvPr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2222304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F17934EB-F2F5-451C-8BFA-F1B57B7FE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9"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F17934EB-F2F5-451C-8BFA-F1B57B7FE8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A2994B40-DF0F-4EE0-8098-73DBD5C3F7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blackGray">
          <a:xfrm>
            <a:off x="3413760" y="0"/>
            <a:ext cx="8778240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31" name="Slide Number">
            <a:extLst>
              <a:ext uri="{FF2B5EF4-FFF2-40B4-BE49-F238E27FC236}">
                <a16:creationId xmlns:a16="http://schemas.microsoft.com/office/drawing/2014/main" id="{BE2CCBC0-C6F2-40FC-91A9-0C10FE38C17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71220653-0E59-43CC-9608-6D9E9A9A645B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7" y="6501670"/>
            <a:ext cx="2521119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1C94DE74-BFF3-427D-B1EB-6EC01224A21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8" y="41598"/>
            <a:ext cx="252111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B7EC052A-7EEB-4E98-B92D-8E3E6C89311C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48218" y="3636553"/>
            <a:ext cx="2521119" cy="492443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6EDF22DC-CFC6-49A3-985F-D21B951A77A3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548218" y="2502262"/>
            <a:ext cx="2521119" cy="1015663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Documenttype">
            <a:extLst>
              <a:ext uri="{FF2B5EF4-FFF2-40B4-BE49-F238E27FC236}">
                <a16:creationId xmlns:a16="http://schemas.microsoft.com/office/drawing/2014/main" id="{44C1EF3F-8633-48A1-9E13-6964B8387937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69970738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E317DDE9-4510-4ADA-BC78-E96D24597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3"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E317DDE9-4510-4ADA-BC78-E96D245978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3" hidden="1">
            <a:extLst>
              <a:ext uri="{FF2B5EF4-FFF2-40B4-BE49-F238E27FC236}">
                <a16:creationId xmlns:a16="http://schemas.microsoft.com/office/drawing/2014/main" id="{30D7698A-7001-41A3-B997-323E2D93DC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blackGray">
          <a:xfrm>
            <a:off x="4364736" y="0"/>
            <a:ext cx="7827264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4" name="Slide Number">
            <a:extLst>
              <a:ext uri="{FF2B5EF4-FFF2-40B4-BE49-F238E27FC236}">
                <a16:creationId xmlns:a16="http://schemas.microsoft.com/office/drawing/2014/main" id="{FD54F44A-AA88-4B28-88CB-9DD6BDA16D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9E8DABE5-6099-4D42-9730-B3FED1A8FD55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7" y="6501670"/>
            <a:ext cx="3476007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F2D8FBFF-13B8-4394-9AF5-D206F6B8DF0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28C5B63D-E9C7-4AF1-8B9D-DBEF74F2CE52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48218" y="2840816"/>
            <a:ext cx="3476007" cy="677108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C302CFF5-7D13-40E9-B0FB-8BC438F87D7F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48217" y="3636553"/>
            <a:ext cx="3462528" cy="492443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Documenttype">
            <a:extLst>
              <a:ext uri="{FF2B5EF4-FFF2-40B4-BE49-F238E27FC236}">
                <a16:creationId xmlns:a16="http://schemas.microsoft.com/office/drawing/2014/main" id="{C6F7C55D-688F-462A-99C0-63216457577A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4788853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E8063F9-BD79-4AC7-AE37-FA41373B03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7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E8063F9-BD79-4AC7-AE37-FA41373B03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7D5CD0B7-78F0-4D90-8217-39B2ABEF29E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8" name="Slide Number">
            <a:extLst>
              <a:ext uri="{FF2B5EF4-FFF2-40B4-BE49-F238E27FC236}">
                <a16:creationId xmlns:a16="http://schemas.microsoft.com/office/drawing/2014/main" id="{189FC83F-F940-442F-8A4B-3FFD875A4CE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0AB58A89-F6F4-4862-B0B6-9B56563426ED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7" y="6501670"/>
            <a:ext cx="5159180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80C43D9A-8871-4E21-8014-7D0511A34A5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D0AE5B54-AB0E-4484-9346-E286DDC6EE22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7" y="173736"/>
            <a:ext cx="5159180" cy="338554"/>
          </a:xfrm>
        </p:spPr>
        <p:txBody>
          <a:bodyPr wrap="square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515FD66B-17DF-4FD2-AACA-1776A1723322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7" y="525929"/>
            <a:ext cx="5159180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Documenttype">
            <a:extLst>
              <a:ext uri="{FF2B5EF4-FFF2-40B4-BE49-F238E27FC236}">
                <a16:creationId xmlns:a16="http://schemas.microsoft.com/office/drawing/2014/main" id="{F6423CDC-10C6-4893-AAB3-4DC3BAB587DA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1392274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ty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01E840A-BCBE-4B40-B158-B16879D32C9F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BB607E6-0B1F-BB4A-9794-46A0CA431F4F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AFA3409-650A-E04D-9C6C-C839AFCA4D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6533" y="6492502"/>
            <a:ext cx="2736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F3A1742-1D21-6E49-B1F6-D58AC8A01F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1142" y="6510528"/>
            <a:ext cx="3816489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777163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C874AD5-EF74-4210-B94F-F40285F6D1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1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C874AD5-EF74-4210-B94F-F40285F6D1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D1DF5CE8-D561-43C7-AB94-A5D89A58CD8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8" name="Slide Number">
            <a:extLst>
              <a:ext uri="{FF2B5EF4-FFF2-40B4-BE49-F238E27FC236}">
                <a16:creationId xmlns:a16="http://schemas.microsoft.com/office/drawing/2014/main" id="{0151F0BA-80A8-4F21-BC61-52898A9C097C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D3CEBF83-E241-4D4D-9783-E5C68CC3AF4E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7" y="6501670"/>
            <a:ext cx="6967303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14B1AC38-9340-4F04-B7F9-727A4C19843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E0989CC3-989C-4053-8FFF-166827696BD9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7" y="173736"/>
            <a:ext cx="6967303" cy="338554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74755987-3A66-4AF7-AF0A-FD37AD28002D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7" y="525929"/>
            <a:ext cx="6967303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Documenttype">
            <a:extLst>
              <a:ext uri="{FF2B5EF4-FFF2-40B4-BE49-F238E27FC236}">
                <a16:creationId xmlns:a16="http://schemas.microsoft.com/office/drawing/2014/main" id="{C494F823-6042-40C6-94CD-0F980C6F2DFA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02244220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5"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8CB8AD3-3DED-4C3C-8856-6127F6F3597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C0F3E7B1-38C8-4558-A8C6-99F73B7D438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4E3119B5-3D7F-4B88-8761-E5447BB52B0A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5" y="6501670"/>
            <a:ext cx="7924800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noProof="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82B2936D-0579-49C0-B9F2-C284240312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126BA874-D683-4AD6-9136-C6CB0A000745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3736"/>
            <a:ext cx="7924800" cy="3385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014A53DA-65EF-4EBF-B2CC-035C915C32E5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525929"/>
            <a:ext cx="7924800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6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Documenttype">
            <a:extLst>
              <a:ext uri="{FF2B5EF4-FFF2-40B4-BE49-F238E27FC236}">
                <a16:creationId xmlns:a16="http://schemas.microsoft.com/office/drawing/2014/main" id="{4BA71C2D-8769-4A52-BEB4-7C780187BFA1}"/>
              </a:ext>
            </a:extLst>
          </p:cNvPr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1128210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B36C25-3154-4643-A5D1-40C663C761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9"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B36C25-3154-4643-A5D1-40C663C761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261CA95-BAC8-4094-B77C-B413C63AA45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3736"/>
            <a:ext cx="11082528" cy="338554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F5AB69F0-0252-4F2C-9F5C-D4F8BF35BCB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algn="r" defTabSz="458047" rtl="0"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kern="12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marL="0" algn="r" defTabSz="458047" rtl="0" eaLnBrk="1" fontAlgn="auto" latinLnBrk="0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E3C08BE2-DFA5-4DF3-81CF-C757EBD94F2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7765112B-94E4-48E7-B473-F1F8C57D1D83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8" name="Documenttype">
            <a:extLst>
              <a:ext uri="{FF2B5EF4-FFF2-40B4-BE49-F238E27FC236}">
                <a16:creationId xmlns:a16="http://schemas.microsoft.com/office/drawing/2014/main" id="{5B035A1A-50B6-45E3-9869-D14473D397AB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92280679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45F7C92-D5CD-4EDC-B5FB-B32BFADF4A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3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45F7C92-D5CD-4EDC-B5FB-B32BFADF4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lide Number">
            <a:extLst>
              <a:ext uri="{FF2B5EF4-FFF2-40B4-BE49-F238E27FC236}">
                <a16:creationId xmlns:a16="http://schemas.microsoft.com/office/drawing/2014/main" id="{E008B892-7EEF-40A7-8714-CA703035E127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047C437-9378-4088-A289-F201ABA447D1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33AE1560-579C-459C-A40A-D7865DE59B1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6" name="Documenttype">
            <a:extLst>
              <a:ext uri="{FF2B5EF4-FFF2-40B4-BE49-F238E27FC236}">
                <a16:creationId xmlns:a16="http://schemas.microsoft.com/office/drawing/2014/main" id="{49991C03-7F48-47F1-B3A9-19D7D1A4653F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30539203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:a16="http://schemas.microsoft.com/office/drawing/2014/main" id="{1C6EC4AA-6C84-4EF6-AF4D-BE24FEED67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7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2" hidden="1">
                        <a:extLst>
                          <a:ext uri="{FF2B5EF4-FFF2-40B4-BE49-F238E27FC236}">
                            <a16:creationId xmlns:a16="http://schemas.microsoft.com/office/drawing/2014/main" id="{1C6EC4AA-6C84-4EF6-AF4D-BE24FEED67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E4946286-E3E6-424F-8C6C-3D00E8A0D3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4" name="Documenttype">
            <a:extLst>
              <a:ext uri="{FF2B5EF4-FFF2-40B4-BE49-F238E27FC236}">
                <a16:creationId xmlns:a16="http://schemas.microsoft.com/office/drawing/2014/main" id="{3925F7DB-235B-4011-96E3-49D4B5E6FEEF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9179800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r Thank You Slide : Traditional Logo">
    <p:bg>
      <p:bgPr>
        <a:solidFill>
          <a:srgbClr val="4376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4CC38585-9175-5F41-B983-E626A8B41D81}"/>
              </a:ext>
            </a:extLst>
          </p:cNvPr>
          <p:cNvSpPr/>
          <p:nvPr userDrawn="1"/>
        </p:nvSpPr>
        <p:spPr>
          <a:xfrm>
            <a:off x="0" y="6"/>
            <a:ext cx="12192000" cy="1144121"/>
          </a:xfrm>
          <a:prstGeom prst="rect">
            <a:avLst/>
          </a:prstGeom>
          <a:solidFill>
            <a:srgbClr val="01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8" name="Right Arrow 17">
            <a:extLst>
              <a:ext uri="{FF2B5EF4-FFF2-40B4-BE49-F238E27FC236}">
                <a16:creationId xmlns:a16="http://schemas.microsoft.com/office/drawing/2014/main" id="{046DACA1-5854-FE4E-B523-7C1C85892163}"/>
              </a:ext>
            </a:extLst>
          </p:cNvPr>
          <p:cNvSpPr/>
          <p:nvPr userDrawn="1"/>
        </p:nvSpPr>
        <p:spPr>
          <a:xfrm>
            <a:off x="-1707848" y="791683"/>
            <a:ext cx="193647" cy="168613"/>
          </a:xfrm>
          <a:prstGeom prst="rightArrow">
            <a:avLst/>
          </a:prstGeom>
          <a:solidFill>
            <a:sysClr val="windowText" lastClr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57BF16A-46A2-2C4D-B679-429BA6325698}"/>
              </a:ext>
            </a:extLst>
          </p:cNvPr>
          <p:cNvSpPr txBox="1"/>
          <p:nvPr userDrawn="1"/>
        </p:nvSpPr>
        <p:spPr>
          <a:xfrm>
            <a:off x="1768635" y="283853"/>
            <a:ext cx="10423375" cy="5078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1" i="0" u="none" strike="noStrike" kern="0" cap="none" spc="0" normalizeH="0" baseline="0" noProof="0" dirty="0">
                <a:ln w="12700">
                  <a:solidFill>
                    <a:schemeClr val="tx1"/>
                  </a:solidFill>
                  <a:prstDash val="solid"/>
                </a:ln>
                <a:solidFill>
                  <a:srgbClr val="FFFFFF"/>
                </a:solidFill>
                <a:effectLst/>
                <a:uLnTx/>
                <a:uFillTx/>
              </a:rPr>
              <a:t>  Massachusetts Department of Public Health</a:t>
            </a:r>
          </a:p>
        </p:txBody>
      </p:sp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6612BE03-D243-41B4-AFEA-AC1446BA13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9801" y="36383"/>
            <a:ext cx="1343467" cy="100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440113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ty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01E840A-BCBE-4B40-B158-B16879D32C9F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BB607E6-0B1F-BB4A-9794-46A0CA431F4F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AFA3409-650A-E04D-9C6C-C839AFCA4D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6534" y="6492504"/>
            <a:ext cx="2736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F3A1742-1D21-6E49-B1F6-D58AC8A01F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1144" y="6510528"/>
            <a:ext cx="3816489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291482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ntent Sty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01E840A-BCBE-4B40-B158-B16879D32C9F}"/>
              </a:ext>
            </a:extLst>
          </p:cNvPr>
          <p:cNvSpPr/>
          <p:nvPr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BB607E6-0B1F-BB4A-9794-46A0CA431F4F}"/>
              </a:ext>
            </a:extLst>
          </p:cNvPr>
          <p:cNvSpPr/>
          <p:nvPr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AFA3409-650A-E04D-9C6C-C839AFCA4D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6533" y="6492502"/>
            <a:ext cx="2736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F3A1742-1D21-6E49-B1F6-D58AC8A01F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1142" y="6510528"/>
            <a:ext cx="3816489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01E840A-BCBE-4B40-B158-B16879D32C9F}"/>
              </a:ext>
            </a:extLst>
          </p:cNvPr>
          <p:cNvSpPr/>
          <p:nvPr userDrawn="1"/>
        </p:nvSpPr>
        <p:spPr>
          <a:xfrm>
            <a:off x="-110836" y="18031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BB607E6-0B1F-BB4A-9794-46A0CA431F4F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794974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1/2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93752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-153050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1/2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49387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ty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AF37ED-E52C-D04B-BD70-B183C03E603D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1" y="1371600"/>
            <a:ext cx="5181600" cy="475488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6BF9CA7-3F15-9446-8EB4-C69A4779114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1" y="1371600"/>
            <a:ext cx="5181600" cy="475488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E6C81A7-EF54-644A-A3A3-A900741EE329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93944A5-DA90-DB40-BCC8-0A6C4A82F0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6533" y="6492502"/>
            <a:ext cx="2736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0DFBDE89-FFE1-E340-9D69-8210BFC18A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1142" y="6510528"/>
            <a:ext cx="3816489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C11C5B4-7BBB-FC41-86C0-AAB198118171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32233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1/2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976143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-134577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1/28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159827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-161348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1/28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573168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-153050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1/28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130015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1/28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37999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1/28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28689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1/28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308033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410368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1/2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797201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5157-6F8A-478F-B460-90E403728E59}" type="datetimeFigureOut">
              <a:rPr lang="en-US" smtClean="0"/>
              <a:t>1/2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87246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Sty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01E840A-BCBE-4B40-B158-B16879D32C9F}"/>
              </a:ext>
            </a:extLst>
          </p:cNvPr>
          <p:cNvSpPr/>
          <p:nvPr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BB607E6-0B1F-BB4A-9794-46A0CA431F4F}"/>
              </a:ext>
            </a:extLst>
          </p:cNvPr>
          <p:cNvSpPr/>
          <p:nvPr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AFA3409-650A-E04D-9C6C-C839AFCA4D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6533" y="6492502"/>
            <a:ext cx="2736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F3A1742-1D21-6E49-B1F6-D58AC8A01F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1142" y="6510528"/>
            <a:ext cx="3816489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01E840A-BCBE-4B40-B158-B16879D32C9F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BB607E6-0B1F-BB4A-9794-46A0CA431F4F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15559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tyl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1A8284-67CC-404B-90F5-554DCBF913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097280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A90A712-FBB8-5B49-9A19-7524CF76EC3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39789" y="1920238"/>
            <a:ext cx="5157787" cy="4297680"/>
          </a:xfrm>
          <a:prstGeom prst="rect">
            <a:avLst/>
          </a:prstGeom>
        </p:spPr>
        <p:txBody>
          <a:bodyPr/>
          <a:lstStyle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5855752-6A74-934C-B334-F2DD6B79DA4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3" y="1097280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51ED7E2-1F15-7C46-9001-20B2F8A00C5A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172203" y="1920238"/>
            <a:ext cx="5183188" cy="429768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99027F3-96A1-F54F-89E8-F47E6B10DE1B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7CFBF09-BBCF-454C-91A3-1D89A60FA302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EEF3B907-07EC-464A-9168-21644716BCF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56533" y="6492502"/>
            <a:ext cx="2736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1561A3A6-AA0A-054F-AD42-397A9574A9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11142" y="6510528"/>
            <a:ext cx="3816489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365886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Sty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01E840A-BCBE-4B40-B158-B16879D32C9F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BB607E6-0B1F-BB4A-9794-46A0CA431F4F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AFA3409-650A-E04D-9C6C-C839AFCA4D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6533" y="6492502"/>
            <a:ext cx="2736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F3A1742-1D21-6E49-B1F6-D58AC8A01F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1142" y="6510528"/>
            <a:ext cx="3816489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972551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r Thank You Slide : Traditional Logo">
    <p:bg>
      <p:bgPr>
        <a:solidFill>
          <a:srgbClr val="4376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4CC38585-9175-5F41-B983-E626A8B41D81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01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ight Arrow 17">
            <a:extLst>
              <a:ext uri="{FF2B5EF4-FFF2-40B4-BE49-F238E27FC236}">
                <a16:creationId xmlns:a16="http://schemas.microsoft.com/office/drawing/2014/main" id="{046DACA1-5854-FE4E-B523-7C1C85892163}"/>
              </a:ext>
            </a:extLst>
          </p:cNvPr>
          <p:cNvSpPr/>
          <p:nvPr userDrawn="1"/>
        </p:nvSpPr>
        <p:spPr>
          <a:xfrm>
            <a:off x="-1707848" y="791683"/>
            <a:ext cx="193647" cy="168613"/>
          </a:xfrm>
          <a:prstGeom prst="rightArrow">
            <a:avLst/>
          </a:prstGeom>
          <a:solidFill>
            <a:sysClr val="windowText" lastClr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57BF16A-46A2-2C4D-B679-429BA6325698}"/>
              </a:ext>
            </a:extLst>
          </p:cNvPr>
          <p:cNvSpPr txBox="1"/>
          <p:nvPr userDrawn="1"/>
        </p:nvSpPr>
        <p:spPr>
          <a:xfrm>
            <a:off x="1768634" y="173767"/>
            <a:ext cx="10423375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 dirty="0">
                <a:ln w="12700">
                  <a:solidFill>
                    <a:schemeClr val="tx1"/>
                  </a:solidFill>
                  <a:prstDash val="solid"/>
                </a:ln>
                <a:solidFill>
                  <a:srgbClr val="FFFFFF"/>
                </a:solidFill>
                <a:effectLst/>
                <a:uLnTx/>
                <a:uFillTx/>
              </a:rPr>
              <a:t>  Massachusetts Department of Public Health</a:t>
            </a:r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761AAA9F-9A39-9A4E-BFBD-0A487B5455F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1392" y="233425"/>
            <a:ext cx="1247157" cy="12561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389100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nect with D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01E840A-BCBE-4B40-B158-B16879D32C9F}"/>
              </a:ext>
            </a:extLst>
          </p:cNvPr>
          <p:cNvSpPr/>
          <p:nvPr userDrawn="1"/>
        </p:nvSpPr>
        <p:spPr>
          <a:xfrm>
            <a:off x="0" y="5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63E049E-FD56-F54C-8BAD-BC944A51238B}"/>
              </a:ext>
            </a:extLst>
          </p:cNvPr>
          <p:cNvSpPr txBox="1"/>
          <p:nvPr userDrawn="1"/>
        </p:nvSpPr>
        <p:spPr>
          <a:xfrm>
            <a:off x="721905" y="293879"/>
            <a:ext cx="708660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 charset="0"/>
              </a:rPr>
              <a:t>Connect with DPH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BB607E6-0B1F-BB4A-9794-46A0CA431F4F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AFA3409-650A-E04D-9C6C-C839AFCA4D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6533" y="6492502"/>
            <a:ext cx="2736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F3A1742-1D21-6E49-B1F6-D58AC8A01F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1142" y="6510528"/>
            <a:ext cx="3816489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pic>
        <p:nvPicPr>
          <p:cNvPr id="13" name="Picture 2" descr="C:\Users\ABCohen\AppData\Local\Microsoft\Windows\Temporary Internet Files\Content.IE5\43RR80EE\Twitter_bird_logo_2012.svg[1].png">
            <a:extLst>
              <a:ext uri="{FF2B5EF4-FFF2-40B4-BE49-F238E27FC236}">
                <a16:creationId xmlns:a16="http://schemas.microsoft.com/office/drawing/2014/main" id="{4F6B478E-A7A8-1F4E-B422-5CB6507546E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72285" y="1353783"/>
            <a:ext cx="843195" cy="685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3" descr="C:\Users\ABCohen\AppData\Local\Microsoft\Windows\Temporary Internet Files\Content.IE5\75V1FWE6\LinkedIn_logo_initials[1].png">
            <a:extLst>
              <a:ext uri="{FF2B5EF4-FFF2-40B4-BE49-F238E27FC236}">
                <a16:creationId xmlns:a16="http://schemas.microsoft.com/office/drawing/2014/main" id="{655629D2-47C3-9740-AF5E-F6DEC31BCCD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35410" y="2423785"/>
            <a:ext cx="838201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8F5FDECC-88AB-4247-9773-F39572AE3242}"/>
              </a:ext>
            </a:extLst>
          </p:cNvPr>
          <p:cNvSpPr/>
          <p:nvPr userDrawn="1"/>
        </p:nvSpPr>
        <p:spPr>
          <a:xfrm>
            <a:off x="2423333" y="1401900"/>
            <a:ext cx="9220201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 dirty="0"/>
              <a:t>@</a:t>
            </a:r>
            <a:r>
              <a:rPr lang="en-US" sz="3600" dirty="0" err="1"/>
              <a:t>MassDPH</a:t>
            </a:r>
            <a:endParaRPr lang="en-US" sz="3600" dirty="0"/>
          </a:p>
          <a:p>
            <a:pPr fontAlgn="base"/>
            <a:endParaRPr lang="en-US" sz="3600" dirty="0"/>
          </a:p>
          <a:p>
            <a:pPr fontAlgn="base"/>
            <a:r>
              <a:rPr lang="en-US" sz="3600" dirty="0"/>
              <a:t>Massachusetts Department of Public Health</a:t>
            </a:r>
          </a:p>
          <a:p>
            <a:pPr fontAlgn="base"/>
            <a:endParaRPr lang="en-US" sz="3600" dirty="0"/>
          </a:p>
          <a:p>
            <a:pPr fontAlgn="base"/>
            <a:r>
              <a:rPr lang="en-US" sz="3600" dirty="0"/>
              <a:t>DPH blog</a:t>
            </a:r>
          </a:p>
          <a:p>
            <a:pPr fontAlgn="base"/>
            <a:r>
              <a:rPr lang="en-US" sz="2800" dirty="0"/>
              <a:t>https://blog.mass.gov/publichealth</a:t>
            </a:r>
          </a:p>
          <a:p>
            <a:pPr fontAlgn="base"/>
            <a:endParaRPr lang="en-US" sz="3600" dirty="0"/>
          </a:p>
          <a:p>
            <a:pPr fontAlgn="base"/>
            <a:r>
              <a:rPr lang="en-US" sz="3600" dirty="0"/>
              <a:t>www.mass.gov/dph</a:t>
            </a:r>
          </a:p>
        </p:txBody>
      </p:sp>
      <p:pic>
        <p:nvPicPr>
          <p:cNvPr id="16" name="Picture 4" descr="C:\Users\ABCohen\AppData\Local\Microsoft\Windows\Temporary Internet Files\Content.Outlook\L5IST9YM\DPHLogo_Blue.png">
            <a:extLst>
              <a:ext uri="{FF2B5EF4-FFF2-40B4-BE49-F238E27FC236}">
                <a16:creationId xmlns:a16="http://schemas.microsoft.com/office/drawing/2014/main" id="{375142A8-4983-3D49-94CC-CD7FE0DAAEF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9648" y="4887053"/>
            <a:ext cx="1200149" cy="1200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B39DE3C-CDCC-724A-BB9E-78CAF2E049E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9658" y="3597197"/>
            <a:ext cx="1129705" cy="1129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58037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24542A7-C082-4CFA-AA73-33681F1CE8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1/2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D9DB6BD-DBA1-4A80-907B-D03CAEEF59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CBF653-3E4E-4CF4-B628-394E9B463E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53232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96A18F-96AB-43CC-8EC0-FED81EB72E5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A2E8258-D338-4873-A42C-15AE08E7C7A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260C7B-999C-4622-B92F-4E6761F40E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1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7EC8D5-B73E-41C3-B5E5-0640435DD0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1B5B00-D104-4381-A095-47BDC8FEB8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59997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FFF011-CC1A-495D-BBFA-DC383FD314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02108E-88F9-4C72-91F5-B708F8FCED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206C42-6380-48CE-A80C-D03697C50A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87C15E-ECE1-4EE5-BF79-E8136BD6249D}" type="datetimeFigureOut">
              <a:rPr lang="en-US" smtClean="0"/>
              <a:t>1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2BB2EB-0E36-4911-89F5-D612CC70D1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F848B3-D757-40D1-953B-2E0B988EF4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24488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2.xml"/><Relationship Id="rId18" Type="http://schemas.openxmlformats.org/officeDocument/2006/relationships/theme" Target="../theme/theme3.xml"/><Relationship Id="rId26" Type="http://schemas.openxmlformats.org/officeDocument/2006/relationships/tags" Target="../tags/tag7.xml"/><Relationship Id="rId39" Type="http://schemas.openxmlformats.org/officeDocument/2006/relationships/tags" Target="../tags/tag20.xml"/><Relationship Id="rId21" Type="http://schemas.openxmlformats.org/officeDocument/2006/relationships/tags" Target="../tags/tag2.xml"/><Relationship Id="rId34" Type="http://schemas.openxmlformats.org/officeDocument/2006/relationships/tags" Target="../tags/tag15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tags" Target="../tags/tag1.xml"/><Relationship Id="rId29" Type="http://schemas.openxmlformats.org/officeDocument/2006/relationships/tags" Target="../tags/tag10.xml"/><Relationship Id="rId41" Type="http://schemas.openxmlformats.org/officeDocument/2006/relationships/tags" Target="../tags/tag22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tags" Target="../tags/tag5.xml"/><Relationship Id="rId32" Type="http://schemas.openxmlformats.org/officeDocument/2006/relationships/tags" Target="../tags/tag13.xml"/><Relationship Id="rId37" Type="http://schemas.openxmlformats.org/officeDocument/2006/relationships/tags" Target="../tags/tag18.xml"/><Relationship Id="rId40" Type="http://schemas.openxmlformats.org/officeDocument/2006/relationships/tags" Target="../tags/tag21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tags" Target="../tags/tag4.xml"/><Relationship Id="rId28" Type="http://schemas.openxmlformats.org/officeDocument/2006/relationships/tags" Target="../tags/tag9.xml"/><Relationship Id="rId36" Type="http://schemas.openxmlformats.org/officeDocument/2006/relationships/tags" Target="../tags/tag17.xml"/><Relationship Id="rId10" Type="http://schemas.openxmlformats.org/officeDocument/2006/relationships/slideLayout" Target="../slideLayouts/slideLayout29.xml"/><Relationship Id="rId19" Type="http://schemas.openxmlformats.org/officeDocument/2006/relationships/vmlDrawing" Target="../drawings/vmlDrawing1.vml"/><Relationship Id="rId31" Type="http://schemas.openxmlformats.org/officeDocument/2006/relationships/tags" Target="../tags/tag12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tags" Target="../tags/tag3.xml"/><Relationship Id="rId27" Type="http://schemas.openxmlformats.org/officeDocument/2006/relationships/tags" Target="../tags/tag8.xml"/><Relationship Id="rId30" Type="http://schemas.openxmlformats.org/officeDocument/2006/relationships/tags" Target="../tags/tag11.xml"/><Relationship Id="rId35" Type="http://schemas.openxmlformats.org/officeDocument/2006/relationships/tags" Target="../tags/tag16.xml"/><Relationship Id="rId43" Type="http://schemas.openxmlformats.org/officeDocument/2006/relationships/image" Target="../media/image7.emf"/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tags" Target="../tags/tag6.xml"/><Relationship Id="rId33" Type="http://schemas.openxmlformats.org/officeDocument/2006/relationships/tags" Target="../tags/tag14.xml"/><Relationship Id="rId38" Type="http://schemas.openxmlformats.org/officeDocument/2006/relationships/tags" Target="../tags/tag1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8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09312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0" r:id="rId3"/>
    <p:sldLayoutId id="2147483652" r:id="rId4"/>
    <p:sldLayoutId id="2147483653" r:id="rId5"/>
    <p:sldLayoutId id="2147483654" r:id="rId6"/>
    <p:sldLayoutId id="2147483695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3F9210B-0E8C-470C-9AFE-A631E695B3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F93E87-097B-4EFB-ABCE-45DD2E37CA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706769-5B30-4D57-AFE5-C4376BCED7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87C15E-ECE1-4EE5-BF79-E8136BD6249D}" type="datetimeFigureOut">
              <a:rPr lang="en-US" smtClean="0"/>
              <a:t>1/2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21EC83-0752-48B2-B11C-CEF1989CA9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2E234A-7979-40C5-8FAE-CAE98B8973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17FF46-D652-4521-999E-0D1F40D8CA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5376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9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8963AA3D-EFA3-4938-9D41-C8DDC03F78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" name="think-cell Slide" r:id="rId42" imgW="572" imgH="588" progId="TCLayout.ActiveDocument.1">
                  <p:embed/>
                </p:oleObj>
              </mc:Choice>
              <mc:Fallback>
                <p:oleObj name="think-cell Slide" r:id="rId42" imgW="572" imgH="588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8963AA3D-EFA3-4938-9D41-C8DDC03F78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3" hidden="1">
            <a:extLst>
              <a:ext uri="{FF2B5EF4-FFF2-40B4-BE49-F238E27FC236}">
                <a16:creationId xmlns:a16="http://schemas.microsoft.com/office/drawing/2014/main" id="{C4A855FC-965A-4859-83A9-629E80C693BF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2" name="4. Footnote" hidden="1">
            <a:extLst>
              <a:ext uri="{FF2B5EF4-FFF2-40B4-BE49-F238E27FC236}">
                <a16:creationId xmlns:a16="http://schemas.microsoft.com/office/drawing/2014/main" id="{06E07A66-B8BA-42E8-A0F6-6B0251CAA48E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48640" y="6274555"/>
            <a:ext cx="1108252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sz="800" dirty="0"/>
              <a:t>Footnote</a:t>
            </a: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BAD3E984-2EF2-43CD-BB0E-16A737B99040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3736"/>
            <a:ext cx="11082528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3" name="Grid" hidden="1">
            <a:extLst>
              <a:ext uri="{FF2B5EF4-FFF2-40B4-BE49-F238E27FC236}">
                <a16:creationId xmlns:a16="http://schemas.microsoft.com/office/drawing/2014/main" id="{564EB9F6-AC04-42ED-9CB6-6D01335D9982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 bwMode="blackGray">
          <a:xfrm>
            <a:off x="2" y="0"/>
            <a:ext cx="12190476" cy="6858000"/>
            <a:chOff x="0" y="0"/>
            <a:chExt cx="12190476" cy="6858000"/>
          </a:xfrm>
        </p:grpSpPr>
        <p:sp>
          <p:nvSpPr>
            <p:cNvPr id="55" name="slide margin">
              <a:extLst>
                <a:ext uri="{FF2B5EF4-FFF2-40B4-BE49-F238E27FC236}">
                  <a16:creationId xmlns:a16="http://schemas.microsoft.com/office/drawing/2014/main" id="{F5DBB269-56D9-4200-9112-12E14BA26FC3}"/>
                </a:ext>
              </a:extLst>
            </p:cNvPr>
            <p:cNvSpPr/>
            <p:nvPr/>
          </p:nvSpPr>
          <p:spPr bwMode="black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350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C7A4F8EE-DD16-44D6-8659-4BC61E1C4968}"/>
                </a:ext>
              </a:extLst>
            </p:cNvPr>
            <p:cNvCxnSpPr/>
            <p:nvPr/>
          </p:nvCxnSpPr>
          <p:spPr bwMode="black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A20FAAC0-CCE6-4BC5-A835-E805E4CFE84B}"/>
                </a:ext>
              </a:extLst>
            </p:cNvPr>
            <p:cNvCxnSpPr/>
            <p:nvPr/>
          </p:nvCxnSpPr>
          <p:spPr bwMode="black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FCE62967-F8DD-442A-A2C7-5EC8AB9FE8CE}"/>
                </a:ext>
              </a:extLst>
            </p:cNvPr>
            <p:cNvCxnSpPr/>
            <p:nvPr/>
          </p:nvCxnSpPr>
          <p:spPr bwMode="black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38D8E0C4-F713-47B9-9258-FCC3EF4AC2D3}"/>
                </a:ext>
              </a:extLst>
            </p:cNvPr>
            <p:cNvCxnSpPr/>
            <p:nvPr/>
          </p:nvCxnSpPr>
          <p:spPr bwMode="black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9209D019-80C7-44F7-B340-FDC6CF76FDFE}"/>
                </a:ext>
              </a:extLst>
            </p:cNvPr>
            <p:cNvCxnSpPr/>
            <p:nvPr/>
          </p:nvCxnSpPr>
          <p:spPr bwMode="black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2B6FCE71-887F-4F0B-ACCD-6CFCD13E12A8}"/>
                </a:ext>
              </a:extLst>
            </p:cNvPr>
            <p:cNvCxnSpPr/>
            <p:nvPr/>
          </p:nvCxnSpPr>
          <p:spPr bwMode="black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F25852E5-79E9-4D30-89F2-E8E3C7A8A8D3}"/>
                </a:ext>
              </a:extLst>
            </p:cNvPr>
            <p:cNvCxnSpPr/>
            <p:nvPr/>
          </p:nvCxnSpPr>
          <p:spPr bwMode="black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21894E67-6006-4C83-BBB3-824E5C6CAE33}"/>
                </a:ext>
              </a:extLst>
            </p:cNvPr>
            <p:cNvCxnSpPr/>
            <p:nvPr/>
          </p:nvCxnSpPr>
          <p:spPr bwMode="black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8B05A6-707C-49A0-B29E-A54224F6D77E}"/>
                </a:ext>
              </a:extLst>
            </p:cNvPr>
            <p:cNvCxnSpPr/>
            <p:nvPr/>
          </p:nvCxnSpPr>
          <p:spPr bwMode="black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56D036E9-E68E-45AC-88B1-3889BA9AC140}"/>
                </a:ext>
              </a:extLst>
            </p:cNvPr>
            <p:cNvCxnSpPr/>
            <p:nvPr/>
          </p:nvCxnSpPr>
          <p:spPr bwMode="black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228A5C01-418B-415F-ACE4-12657A25C674}"/>
                </a:ext>
              </a:extLst>
            </p:cNvPr>
            <p:cNvCxnSpPr/>
            <p:nvPr/>
          </p:nvCxnSpPr>
          <p:spPr bwMode="black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2CD3EFBD-902E-4760-89FE-386EC5FAB5DD}"/>
                </a:ext>
              </a:extLst>
            </p:cNvPr>
            <p:cNvCxnSpPr/>
            <p:nvPr/>
          </p:nvCxnSpPr>
          <p:spPr bwMode="black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86E80E37-4393-4509-A7F8-81796082DBE6}"/>
                </a:ext>
              </a:extLst>
            </p:cNvPr>
            <p:cNvSpPr/>
            <p:nvPr/>
          </p:nvSpPr>
          <p:spPr bwMode="black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88B6547D-77F2-421A-BE02-C2FE626088A2}"/>
                </a:ext>
              </a:extLst>
            </p:cNvPr>
            <p:cNvSpPr/>
            <p:nvPr/>
          </p:nvSpPr>
          <p:spPr bwMode="black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3092C087-1CB5-40EB-AAE7-4F62179E5B3D}"/>
                </a:ext>
              </a:extLst>
            </p:cNvPr>
            <p:cNvSpPr/>
            <p:nvPr/>
          </p:nvSpPr>
          <p:spPr bwMode="black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170C581B-2D28-48E7-9BF1-F773AD6A082F}"/>
                </a:ext>
              </a:extLst>
            </p:cNvPr>
            <p:cNvSpPr/>
            <p:nvPr/>
          </p:nvSpPr>
          <p:spPr bwMode="black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05DE51E3-D897-4994-9418-E8C2DE782A3A}"/>
                </a:ext>
              </a:extLst>
            </p:cNvPr>
            <p:cNvSpPr/>
            <p:nvPr/>
          </p:nvSpPr>
          <p:spPr bwMode="black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7D9B6F9F-FA16-4594-8B72-43FF5F17F7FC}"/>
                </a:ext>
              </a:extLst>
            </p:cNvPr>
            <p:cNvSpPr/>
            <p:nvPr/>
          </p:nvSpPr>
          <p:spPr bwMode="black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21EA58F-1F84-493C-ACF6-F9FACAF48256}"/>
                </a:ext>
              </a:extLst>
            </p:cNvPr>
            <p:cNvSpPr/>
            <p:nvPr/>
          </p:nvSpPr>
          <p:spPr bwMode="black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208E60CB-D491-446F-999C-C54AA89B3EC2}"/>
                </a:ext>
              </a:extLst>
            </p:cNvPr>
            <p:cNvSpPr/>
            <p:nvPr/>
          </p:nvSpPr>
          <p:spPr bwMode="black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A798CCB-595D-477E-BB68-277026AE1F58}"/>
                </a:ext>
              </a:extLst>
            </p:cNvPr>
            <p:cNvSpPr/>
            <p:nvPr/>
          </p:nvSpPr>
          <p:spPr bwMode="black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EDE4A3B3-1B25-4F73-AFB0-BC5117472C58}"/>
                </a:ext>
              </a:extLst>
            </p:cNvPr>
            <p:cNvSpPr/>
            <p:nvPr/>
          </p:nvSpPr>
          <p:spPr bwMode="black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BB244C56-8768-49BE-9C5F-39DC27091866}"/>
                </a:ext>
              </a:extLst>
            </p:cNvPr>
            <p:cNvSpPr/>
            <p:nvPr/>
          </p:nvSpPr>
          <p:spPr bwMode="black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FF016B4B-663C-4A99-BA16-526587A98E3A}"/>
                </a:ext>
              </a:extLst>
            </p:cNvPr>
            <p:cNvSpPr/>
            <p:nvPr/>
          </p:nvSpPr>
          <p:spPr bwMode="black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E0EE0782-4BFF-4C76-83A4-65CB2A78CF86}"/>
                </a:ext>
              </a:extLst>
            </p:cNvPr>
            <p:cNvSpPr/>
            <p:nvPr/>
          </p:nvSpPr>
          <p:spPr bwMode="black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922C003-5270-4D9A-ADCB-FBD0BCF17B75}"/>
                </a:ext>
              </a:extLst>
            </p:cNvPr>
            <p:cNvSpPr/>
            <p:nvPr/>
          </p:nvSpPr>
          <p:spPr bwMode="black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6D711215-3D48-4B08-99DB-BE3939FDAC79}"/>
                </a:ext>
              </a:extLst>
            </p:cNvPr>
            <p:cNvSpPr/>
            <p:nvPr userDrawn="1"/>
          </p:nvSpPr>
          <p:spPr bwMode="black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DDFDFFA-F184-43C9-870C-DCF3B877593B}"/>
                </a:ext>
              </a:extLst>
            </p:cNvPr>
            <p:cNvSpPr/>
            <p:nvPr userDrawn="1"/>
          </p:nvSpPr>
          <p:spPr bwMode="black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A7AD2D58-EC85-4919-86F2-00E85F906876}"/>
                </a:ext>
              </a:extLst>
            </p:cNvPr>
            <p:cNvSpPr/>
            <p:nvPr userDrawn="1"/>
          </p:nvSpPr>
          <p:spPr bwMode="black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01CF21A7-4535-4C57-8143-169D224ADC39}"/>
                </a:ext>
              </a:extLst>
            </p:cNvPr>
            <p:cNvSpPr/>
            <p:nvPr userDrawn="1"/>
          </p:nvSpPr>
          <p:spPr bwMode="black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956F035C-8FDC-45CE-B5B8-F8B4F5ACBC79}"/>
                </a:ext>
              </a:extLst>
            </p:cNvPr>
            <p:cNvSpPr/>
            <p:nvPr userDrawn="1"/>
          </p:nvSpPr>
          <p:spPr bwMode="black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D9B234A6-826A-413C-B931-D919E52A0719}"/>
                </a:ext>
              </a:extLst>
            </p:cNvPr>
            <p:cNvSpPr/>
            <p:nvPr userDrawn="1"/>
          </p:nvSpPr>
          <p:spPr bwMode="black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E048B2BB-6FFB-4D27-96C7-176E63508A2B}"/>
                </a:ext>
              </a:extLst>
            </p:cNvPr>
            <p:cNvSpPr/>
            <p:nvPr userDrawn="1"/>
          </p:nvSpPr>
          <p:spPr bwMode="black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0F26DA9-CE5E-4276-B142-51E0AFC8EFF3}"/>
                </a:ext>
              </a:extLst>
            </p:cNvPr>
            <p:cNvSpPr/>
            <p:nvPr userDrawn="1"/>
          </p:nvSpPr>
          <p:spPr bwMode="black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DEC25358-B7B6-4891-97D2-1B131FD58253}"/>
                </a:ext>
              </a:extLst>
            </p:cNvPr>
            <p:cNvSpPr/>
            <p:nvPr userDrawn="1"/>
          </p:nvSpPr>
          <p:spPr bwMode="black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0F1D4F54-A5B6-4B8F-BA1C-9796B50D71E8}"/>
                </a:ext>
              </a:extLst>
            </p:cNvPr>
            <p:cNvSpPr/>
            <p:nvPr userDrawn="1"/>
          </p:nvSpPr>
          <p:spPr bwMode="black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D3E1AF58-F8BD-4C35-B17B-FF474AC07207}"/>
                </a:ext>
              </a:extLst>
            </p:cNvPr>
            <p:cNvSpPr/>
            <p:nvPr userDrawn="1"/>
          </p:nvSpPr>
          <p:spPr bwMode="black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F433238B-4167-4B9F-AD00-573B9904B268}"/>
                </a:ext>
              </a:extLst>
            </p:cNvPr>
            <p:cNvCxnSpPr/>
            <p:nvPr userDrawn="1"/>
          </p:nvCxnSpPr>
          <p:spPr bwMode="black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E9255B43-A6C1-44E1-AD76-0108E14CF1CF}"/>
                </a:ext>
              </a:extLst>
            </p:cNvPr>
            <p:cNvCxnSpPr/>
            <p:nvPr userDrawn="1"/>
          </p:nvCxnSpPr>
          <p:spPr bwMode="black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86976117-4103-48D7-A1A4-7B1F6EB39AF8}"/>
                </a:ext>
              </a:extLst>
            </p:cNvPr>
            <p:cNvCxnSpPr/>
            <p:nvPr userDrawn="1"/>
          </p:nvCxnSpPr>
          <p:spPr bwMode="black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AD237E79-C954-4F5C-9467-568C2B01D61D}"/>
                </a:ext>
              </a:extLst>
            </p:cNvPr>
            <p:cNvCxnSpPr/>
            <p:nvPr userDrawn="1"/>
          </p:nvCxnSpPr>
          <p:spPr bwMode="black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52C3CA5D-4381-498F-A12A-94E2357D48D3}"/>
                </a:ext>
              </a:extLst>
            </p:cNvPr>
            <p:cNvCxnSpPr/>
            <p:nvPr userDrawn="1"/>
          </p:nvCxnSpPr>
          <p:spPr bwMode="black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CA4E24DD-F3D4-4376-8AB6-A07DA4314FF3}"/>
                </a:ext>
              </a:extLst>
            </p:cNvPr>
            <p:cNvCxnSpPr/>
            <p:nvPr userDrawn="1"/>
          </p:nvCxnSpPr>
          <p:spPr bwMode="black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D5DC4754-8578-491E-A0FF-64F47384863A}"/>
                </a:ext>
              </a:extLst>
            </p:cNvPr>
            <p:cNvCxnSpPr/>
            <p:nvPr userDrawn="1"/>
          </p:nvCxnSpPr>
          <p:spPr bwMode="black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6984F9AF-FC24-4244-B2B7-556836286B42}"/>
                </a:ext>
              </a:extLst>
            </p:cNvPr>
            <p:cNvCxnSpPr/>
            <p:nvPr userDrawn="1"/>
          </p:nvCxnSpPr>
          <p:spPr bwMode="black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BBE39F50-755A-4A28-9262-956D50B5BDF8}"/>
                </a:ext>
              </a:extLst>
            </p:cNvPr>
            <p:cNvCxnSpPr/>
            <p:nvPr userDrawn="1"/>
          </p:nvCxnSpPr>
          <p:spPr bwMode="black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CFFE806D-C6EC-4A6A-A604-0951250AC780}"/>
                </a:ext>
              </a:extLst>
            </p:cNvPr>
            <p:cNvCxnSpPr/>
            <p:nvPr userDrawn="1"/>
          </p:nvCxnSpPr>
          <p:spPr bwMode="black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584ED4C1-CE4B-4983-BA97-346408DC67CE}"/>
                </a:ext>
              </a:extLst>
            </p:cNvPr>
            <p:cNvCxnSpPr/>
            <p:nvPr userDrawn="1"/>
          </p:nvCxnSpPr>
          <p:spPr bwMode="black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2C71EB62-716E-4C9B-AF43-BD800A252535}"/>
                </a:ext>
              </a:extLst>
            </p:cNvPr>
            <p:cNvCxnSpPr/>
            <p:nvPr userDrawn="1"/>
          </p:nvCxnSpPr>
          <p:spPr bwMode="black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9D29CB2-8929-4A25-98AF-2BEB838CFADE}"/>
                </a:ext>
              </a:extLst>
            </p:cNvPr>
            <p:cNvCxnSpPr/>
            <p:nvPr userDrawn="1"/>
          </p:nvCxnSpPr>
          <p:spPr bwMode="black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6555DD7-8F54-4055-98D9-803ECA4B000E}"/>
                </a:ext>
              </a:extLst>
            </p:cNvPr>
            <p:cNvCxnSpPr/>
            <p:nvPr userDrawn="1"/>
          </p:nvCxnSpPr>
          <p:spPr bwMode="black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B2A8ED3D-1604-4356-8E79-C73DF5C07F87}"/>
                </a:ext>
              </a:extLst>
            </p:cNvPr>
            <p:cNvCxnSpPr/>
            <p:nvPr userDrawn="1"/>
          </p:nvCxnSpPr>
          <p:spPr bwMode="black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59B3DA24-D2F6-4B96-A966-7778F0462788}"/>
                </a:ext>
              </a:extLst>
            </p:cNvPr>
            <p:cNvCxnSpPr/>
            <p:nvPr userDrawn="1"/>
          </p:nvCxnSpPr>
          <p:spPr bwMode="black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5B2BC198-E061-43B5-8B72-9AECD4EF674C}"/>
                </a:ext>
              </a:extLst>
            </p:cNvPr>
            <p:cNvCxnSpPr/>
            <p:nvPr userDrawn="1"/>
          </p:nvCxnSpPr>
          <p:spPr bwMode="black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5CBD1AA7-CC60-49B9-AAED-95002306B6DB}"/>
                </a:ext>
              </a:extLst>
            </p:cNvPr>
            <p:cNvCxnSpPr/>
            <p:nvPr userDrawn="1"/>
          </p:nvCxnSpPr>
          <p:spPr bwMode="black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6CFC690-A932-420E-8641-E0D4F1D14F71}"/>
                </a:ext>
              </a:extLst>
            </p:cNvPr>
            <p:cNvCxnSpPr/>
            <p:nvPr userDrawn="1"/>
          </p:nvCxnSpPr>
          <p:spPr bwMode="black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981262C0-EBF5-4D95-9E2E-78B7BE1D5F8F}"/>
                </a:ext>
              </a:extLst>
            </p:cNvPr>
            <p:cNvCxnSpPr/>
            <p:nvPr userDrawn="1"/>
          </p:nvCxnSpPr>
          <p:spPr bwMode="black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72412145-9F02-45F4-8A1F-4109B09DA77F}"/>
                </a:ext>
              </a:extLst>
            </p:cNvPr>
            <p:cNvCxnSpPr/>
            <p:nvPr userDrawn="1"/>
          </p:nvCxnSpPr>
          <p:spPr bwMode="black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4EFB458C-651C-47B0-830C-DFC18029EB15}"/>
                </a:ext>
              </a:extLst>
            </p:cNvPr>
            <p:cNvCxnSpPr/>
            <p:nvPr userDrawn="1"/>
          </p:nvCxnSpPr>
          <p:spPr bwMode="black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275A12CE-1B9C-467B-A41F-63B02D949AF6}"/>
                </a:ext>
              </a:extLst>
            </p:cNvPr>
            <p:cNvCxnSpPr/>
            <p:nvPr userDrawn="1"/>
          </p:nvCxnSpPr>
          <p:spPr bwMode="black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E166A7E-724C-41B9-B1E3-C18068EECF0D}"/>
                </a:ext>
              </a:extLst>
            </p:cNvPr>
            <p:cNvCxnSpPr/>
            <p:nvPr userDrawn="1"/>
          </p:nvCxnSpPr>
          <p:spPr bwMode="black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A628A8A-2AC5-47F3-84EC-7B44237EC8C4}"/>
                </a:ext>
              </a:extLst>
            </p:cNvPr>
            <p:cNvCxnSpPr/>
            <p:nvPr userDrawn="1"/>
          </p:nvCxnSpPr>
          <p:spPr bwMode="black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B89EEAE6-AB58-4DA0-97B7-5ED0B4FB66F7}"/>
                </a:ext>
              </a:extLst>
            </p:cNvPr>
            <p:cNvCxnSpPr/>
            <p:nvPr userDrawn="1"/>
          </p:nvCxnSpPr>
          <p:spPr bwMode="black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9973091C-4F57-45F5-9278-A5495574B244}"/>
                </a:ext>
              </a:extLst>
            </p:cNvPr>
            <p:cNvCxnSpPr/>
            <p:nvPr userDrawn="1"/>
          </p:nvCxnSpPr>
          <p:spPr bwMode="black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013782DF-D3CE-43BC-B089-7657B3CC9E4F}"/>
                </a:ext>
              </a:extLst>
            </p:cNvPr>
            <p:cNvCxnSpPr/>
            <p:nvPr userDrawn="1"/>
          </p:nvCxnSpPr>
          <p:spPr bwMode="black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B40E03DB-D3B5-4ED2-94F1-18B05EF36E60}"/>
                </a:ext>
              </a:extLst>
            </p:cNvPr>
            <p:cNvCxnSpPr/>
            <p:nvPr userDrawn="1"/>
          </p:nvCxnSpPr>
          <p:spPr bwMode="black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283FFB0A-CBFF-4BBE-BC87-0A2AF4284576}"/>
                </a:ext>
              </a:extLst>
            </p:cNvPr>
            <p:cNvCxnSpPr/>
            <p:nvPr userDrawn="1"/>
          </p:nvCxnSpPr>
          <p:spPr bwMode="black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D5A634C-FA6D-4F49-AAD5-BBCE990D4748}"/>
                </a:ext>
              </a:extLst>
            </p:cNvPr>
            <p:cNvCxnSpPr/>
            <p:nvPr userDrawn="1"/>
          </p:nvCxnSpPr>
          <p:spPr bwMode="black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205ED71-0851-4E0C-A163-BC3D3039E671}"/>
                </a:ext>
              </a:extLst>
            </p:cNvPr>
            <p:cNvCxnSpPr/>
            <p:nvPr userDrawn="1"/>
          </p:nvCxnSpPr>
          <p:spPr bwMode="black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715526AD-CEE9-474C-A9A5-D49A5346A930}"/>
                </a:ext>
              </a:extLst>
            </p:cNvPr>
            <p:cNvCxnSpPr/>
            <p:nvPr userDrawn="1"/>
          </p:nvCxnSpPr>
          <p:spPr bwMode="black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E7BD9B20-C7BC-413A-A578-C3FF8BEBBDC0}"/>
                </a:ext>
              </a:extLst>
            </p:cNvPr>
            <p:cNvCxnSpPr/>
            <p:nvPr userDrawn="1"/>
          </p:nvCxnSpPr>
          <p:spPr bwMode="black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A981CE9B-6327-4D32-B970-04D7EC41EE89}"/>
                </a:ext>
              </a:extLst>
            </p:cNvPr>
            <p:cNvCxnSpPr/>
            <p:nvPr userDrawn="1"/>
          </p:nvCxnSpPr>
          <p:spPr bwMode="black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E8F3FFC1-0364-4801-813A-54371A2C43DA}"/>
                </a:ext>
              </a:extLst>
            </p:cNvPr>
            <p:cNvCxnSpPr/>
            <p:nvPr userDrawn="1"/>
          </p:nvCxnSpPr>
          <p:spPr bwMode="black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5606A9C3-FEED-4F52-B442-5009E3F7B54C}"/>
                </a:ext>
              </a:extLst>
            </p:cNvPr>
            <p:cNvCxnSpPr/>
            <p:nvPr userDrawn="1"/>
          </p:nvCxnSpPr>
          <p:spPr bwMode="black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9DAE2C86-BAE6-47A1-94B1-327465587DE7}"/>
                </a:ext>
              </a:extLst>
            </p:cNvPr>
            <p:cNvCxnSpPr/>
            <p:nvPr userDrawn="1"/>
          </p:nvCxnSpPr>
          <p:spPr bwMode="black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9686103-ADA6-4E1A-817A-E71466AE209B}"/>
                </a:ext>
              </a:extLst>
            </p:cNvPr>
            <p:cNvCxnSpPr/>
            <p:nvPr userDrawn="1"/>
          </p:nvCxnSpPr>
          <p:spPr bwMode="black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BD273DE-C35C-4DA9-96B1-DDB7F800252C}"/>
                </a:ext>
              </a:extLst>
            </p:cNvPr>
            <p:cNvCxnSpPr/>
            <p:nvPr userDrawn="1"/>
          </p:nvCxnSpPr>
          <p:spPr bwMode="black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D9A7DF1D-083E-42BB-91EA-4E30FEA625A2}"/>
                </a:ext>
              </a:extLst>
            </p:cNvPr>
            <p:cNvCxnSpPr/>
            <p:nvPr userDrawn="1"/>
          </p:nvCxnSpPr>
          <p:spPr bwMode="black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2D0D1604-79C2-46BE-9905-D864D0ECFE20}"/>
                </a:ext>
              </a:extLst>
            </p:cNvPr>
            <p:cNvCxnSpPr/>
            <p:nvPr userDrawn="1"/>
          </p:nvCxnSpPr>
          <p:spPr bwMode="black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B7B9FA60-E80E-4FE7-BB67-028805A248EE}"/>
                </a:ext>
              </a:extLst>
            </p:cNvPr>
            <p:cNvCxnSpPr/>
            <p:nvPr userDrawn="1"/>
          </p:nvCxnSpPr>
          <p:spPr bwMode="black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102F5688-0147-4CC6-8FB3-67034979720D}"/>
                </a:ext>
              </a:extLst>
            </p:cNvPr>
            <p:cNvCxnSpPr/>
            <p:nvPr userDrawn="1"/>
          </p:nvCxnSpPr>
          <p:spPr bwMode="black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main body box">
              <a:extLst>
                <a:ext uri="{FF2B5EF4-FFF2-40B4-BE49-F238E27FC236}">
                  <a16:creationId xmlns:a16="http://schemas.microsoft.com/office/drawing/2014/main" id="{3AB62359-B582-4196-8266-DC8ADBA988F4}"/>
                </a:ext>
              </a:extLst>
            </p:cNvPr>
            <p:cNvSpPr/>
            <p:nvPr userDrawn="1"/>
          </p:nvSpPr>
          <p:spPr bwMode="black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3D738849-8295-4057-B044-0B0E80C1C3DA}"/>
                </a:ext>
              </a:extLst>
            </p:cNvPr>
            <p:cNvCxnSpPr/>
            <p:nvPr userDrawn="1"/>
          </p:nvCxnSpPr>
          <p:spPr bwMode="black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81361245-226A-4BA1-8B7C-025011F07E2A}"/>
                </a:ext>
              </a:extLst>
            </p:cNvPr>
            <p:cNvCxnSpPr/>
            <p:nvPr userDrawn="1"/>
          </p:nvCxnSpPr>
          <p:spPr bwMode="black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63" name="Sticker" hidden="1">
            <a:extLst>
              <a:ext uri="{FF2B5EF4-FFF2-40B4-BE49-F238E27FC236}">
                <a16:creationId xmlns:a16="http://schemas.microsoft.com/office/drawing/2014/main" id="{F4B31D41-9E38-4C47-B14A-953F41CF2048}"/>
              </a:ext>
            </a:extLst>
          </p:cNvPr>
          <p:cNvSpPr txBox="1"/>
          <p:nvPr userDrawn="1"/>
        </p:nvSpPr>
        <p:spPr>
          <a:xfrm>
            <a:off x="554736" y="834829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sz="800" dirty="0"/>
              <a:t>STICKER</a:t>
            </a:r>
          </a:p>
        </p:txBody>
      </p:sp>
      <p:sp>
        <p:nvSpPr>
          <p:cNvPr id="155" name="ACET" hidden="1">
            <a:extLst>
              <a:ext uri="{FF2B5EF4-FFF2-40B4-BE49-F238E27FC236}">
                <a16:creationId xmlns:a16="http://schemas.microsoft.com/office/drawing/2014/main" id="{6FC9F96D-D74F-4064-BE66-104F69CCE92E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54567" y="2133600"/>
            <a:ext cx="4065671" cy="5078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400" dirty="0"/>
              <a:t>Above Chart Exhibit Title</a:t>
            </a:r>
          </a:p>
          <a:p>
            <a:pPr lvl="0"/>
            <a:r>
              <a:rPr lang="en-US" sz="1400" b="0" dirty="0"/>
              <a:t>Unit of Meas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BA02D5-5579-4386-BB2A-334ACD085C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568" y="2155825"/>
            <a:ext cx="2891817" cy="121828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52" name="LegendBoxes" hidden="1">
            <a:extLst>
              <a:ext uri="{FF2B5EF4-FFF2-40B4-BE49-F238E27FC236}">
                <a16:creationId xmlns:a16="http://schemas.microsoft.com/office/drawing/2014/main" id="{963CCBC6-05DA-41C5-8A26-02B4B8294556}"/>
              </a:ext>
            </a:extLst>
          </p:cNvPr>
          <p:cNvGrpSpPr/>
          <p:nvPr userDrawn="1"/>
        </p:nvGrpSpPr>
        <p:grpSpPr>
          <a:xfrm>
            <a:off x="10522738" y="4396889"/>
            <a:ext cx="944617" cy="1686504"/>
            <a:chOff x="7756825" y="4379430"/>
            <a:chExt cx="708462" cy="1686504"/>
          </a:xfrm>
        </p:grpSpPr>
        <p:sp>
          <p:nvSpPr>
            <p:cNvPr id="153" name="RectangleLegend1">
              <a:extLst>
                <a:ext uri="{FF2B5EF4-FFF2-40B4-BE49-F238E27FC236}">
                  <a16:creationId xmlns:a16="http://schemas.microsoft.com/office/drawing/2014/main" id="{658AC4E5-B9F1-4DD2-A80F-DAC539F6EDF1}"/>
                </a:ext>
              </a:extLst>
            </p:cNvPr>
            <p:cNvSpPr/>
            <p:nvPr/>
          </p:nvSpPr>
          <p:spPr>
            <a:xfrm>
              <a:off x="7756825" y="4385399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err="1">
                <a:solidFill>
                  <a:schemeClr val="tx1"/>
                </a:solidFill>
              </a:endParaRPr>
            </a:p>
          </p:txBody>
        </p:sp>
        <p:sp>
          <p:nvSpPr>
            <p:cNvPr id="154" name="RectangleLegend2">
              <a:extLst>
                <a:ext uri="{FF2B5EF4-FFF2-40B4-BE49-F238E27FC236}">
                  <a16:creationId xmlns:a16="http://schemas.microsoft.com/office/drawing/2014/main" id="{B2384542-8C23-4E14-80D2-CA9F267323F0}"/>
                </a:ext>
              </a:extLst>
            </p:cNvPr>
            <p:cNvSpPr/>
            <p:nvPr/>
          </p:nvSpPr>
          <p:spPr>
            <a:xfrm>
              <a:off x="7756825" y="4764897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err="1">
                <a:solidFill>
                  <a:schemeClr val="tx1"/>
                </a:solidFill>
              </a:endParaRPr>
            </a:p>
          </p:txBody>
        </p:sp>
        <p:sp>
          <p:nvSpPr>
            <p:cNvPr id="164" name="RectangleLegend3">
              <a:extLst>
                <a:ext uri="{FF2B5EF4-FFF2-40B4-BE49-F238E27FC236}">
                  <a16:creationId xmlns:a16="http://schemas.microsoft.com/office/drawing/2014/main" id="{060EF611-D1B1-4A78-8D88-DC9E2B83640A}"/>
                </a:ext>
              </a:extLst>
            </p:cNvPr>
            <p:cNvSpPr/>
            <p:nvPr/>
          </p:nvSpPr>
          <p:spPr>
            <a:xfrm>
              <a:off x="7756825" y="5138493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err="1">
                <a:solidFill>
                  <a:schemeClr val="tx1"/>
                </a:solidFill>
              </a:endParaRPr>
            </a:p>
          </p:txBody>
        </p:sp>
        <p:sp>
          <p:nvSpPr>
            <p:cNvPr id="165" name="RectangleLegend4">
              <a:extLst>
                <a:ext uri="{FF2B5EF4-FFF2-40B4-BE49-F238E27FC236}">
                  <a16:creationId xmlns:a16="http://schemas.microsoft.com/office/drawing/2014/main" id="{E1613226-3F7F-4C55-A6C0-DD8251B844E6}"/>
                </a:ext>
              </a:extLst>
            </p:cNvPr>
            <p:cNvSpPr/>
            <p:nvPr/>
          </p:nvSpPr>
          <p:spPr>
            <a:xfrm>
              <a:off x="7756825" y="5512089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err="1">
                <a:solidFill>
                  <a:schemeClr val="tx1"/>
                </a:solidFill>
              </a:endParaRPr>
            </a:p>
          </p:txBody>
        </p:sp>
        <p:sp>
          <p:nvSpPr>
            <p:cNvPr id="166" name="RectangleLegend5">
              <a:extLst>
                <a:ext uri="{FF2B5EF4-FFF2-40B4-BE49-F238E27FC236}">
                  <a16:creationId xmlns:a16="http://schemas.microsoft.com/office/drawing/2014/main" id="{5BE928B1-5A9D-43CB-BC80-2D1F93CC2F3C}"/>
                </a:ext>
              </a:extLst>
            </p:cNvPr>
            <p:cNvSpPr/>
            <p:nvPr/>
          </p:nvSpPr>
          <p:spPr>
            <a:xfrm>
              <a:off x="7756825" y="5885685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err="1">
                <a:solidFill>
                  <a:schemeClr val="tx1"/>
                </a:solidFill>
              </a:endParaRPr>
            </a:p>
          </p:txBody>
        </p:sp>
        <p:sp>
          <p:nvSpPr>
            <p:cNvPr id="167" name="Legend1">
              <a:extLst>
                <a:ext uri="{FF2B5EF4-FFF2-40B4-BE49-F238E27FC236}">
                  <a16:creationId xmlns:a16="http://schemas.microsoft.com/office/drawing/2014/main" id="{588189A8-DB4B-43BF-B593-04C5DB541C53}"/>
                </a:ext>
              </a:extLst>
            </p:cNvPr>
            <p:cNvSpPr txBox="1"/>
            <p:nvPr/>
          </p:nvSpPr>
          <p:spPr>
            <a:xfrm>
              <a:off x="8082971" y="4379430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68" name="Legend2">
              <a:extLst>
                <a:ext uri="{FF2B5EF4-FFF2-40B4-BE49-F238E27FC236}">
                  <a16:creationId xmlns:a16="http://schemas.microsoft.com/office/drawing/2014/main" id="{BFD93A1F-3913-44CB-80B7-EFCD2B4BF5BC}"/>
                </a:ext>
              </a:extLst>
            </p:cNvPr>
            <p:cNvSpPr txBox="1"/>
            <p:nvPr/>
          </p:nvSpPr>
          <p:spPr>
            <a:xfrm>
              <a:off x="8082971" y="4758928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69" name="Legend3">
              <a:extLst>
                <a:ext uri="{FF2B5EF4-FFF2-40B4-BE49-F238E27FC236}">
                  <a16:creationId xmlns:a16="http://schemas.microsoft.com/office/drawing/2014/main" id="{F7B1D1E0-C2A5-481C-8640-41B469498D8D}"/>
                </a:ext>
              </a:extLst>
            </p:cNvPr>
            <p:cNvSpPr txBox="1"/>
            <p:nvPr/>
          </p:nvSpPr>
          <p:spPr>
            <a:xfrm>
              <a:off x="8082971" y="5138426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  <p:sp>
          <p:nvSpPr>
            <p:cNvPr id="170" name="Legend4">
              <a:extLst>
                <a:ext uri="{FF2B5EF4-FFF2-40B4-BE49-F238E27FC236}">
                  <a16:creationId xmlns:a16="http://schemas.microsoft.com/office/drawing/2014/main" id="{C8DA0D60-61E4-4C36-A081-C71B9380B540}"/>
                </a:ext>
              </a:extLst>
            </p:cNvPr>
            <p:cNvSpPr txBox="1"/>
            <p:nvPr/>
          </p:nvSpPr>
          <p:spPr>
            <a:xfrm>
              <a:off x="8082971" y="5509847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  <p:sp>
          <p:nvSpPr>
            <p:cNvPr id="171" name="Legend5">
              <a:extLst>
                <a:ext uri="{FF2B5EF4-FFF2-40B4-BE49-F238E27FC236}">
                  <a16:creationId xmlns:a16="http://schemas.microsoft.com/office/drawing/2014/main" id="{0642CA01-EC45-4B1C-8CC1-746C78F308A5}"/>
                </a:ext>
              </a:extLst>
            </p:cNvPr>
            <p:cNvSpPr txBox="1"/>
            <p:nvPr/>
          </p:nvSpPr>
          <p:spPr>
            <a:xfrm>
              <a:off x="8082970" y="5881268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</p:grpSp>
      <p:grpSp>
        <p:nvGrpSpPr>
          <p:cNvPr id="172" name="LegendLines" hidden="1">
            <a:extLst>
              <a:ext uri="{FF2B5EF4-FFF2-40B4-BE49-F238E27FC236}">
                <a16:creationId xmlns:a16="http://schemas.microsoft.com/office/drawing/2014/main" id="{F23A354F-6D61-4076-98CC-072D54F2B9B5}"/>
              </a:ext>
            </a:extLst>
          </p:cNvPr>
          <p:cNvGrpSpPr/>
          <p:nvPr userDrawn="1"/>
        </p:nvGrpSpPr>
        <p:grpSpPr>
          <a:xfrm>
            <a:off x="10135957" y="3237562"/>
            <a:ext cx="1331385" cy="927508"/>
            <a:chOff x="7495285" y="2250552"/>
            <a:chExt cx="998539" cy="927508"/>
          </a:xfrm>
        </p:grpSpPr>
        <p:sp>
          <p:nvSpPr>
            <p:cNvPr id="173" name="Legend1">
              <a:extLst>
                <a:ext uri="{FF2B5EF4-FFF2-40B4-BE49-F238E27FC236}">
                  <a16:creationId xmlns:a16="http://schemas.microsoft.com/office/drawing/2014/main" id="{10E606C6-97CA-4FF0-A153-84CA4E8F414F}"/>
                </a:ext>
              </a:extLst>
            </p:cNvPr>
            <p:cNvSpPr txBox="1"/>
            <p:nvPr/>
          </p:nvSpPr>
          <p:spPr>
            <a:xfrm>
              <a:off x="8111508" y="2250552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74" name="Legend2">
              <a:extLst>
                <a:ext uri="{FF2B5EF4-FFF2-40B4-BE49-F238E27FC236}">
                  <a16:creationId xmlns:a16="http://schemas.microsoft.com/office/drawing/2014/main" id="{5F43CABA-AFC6-491E-A7D7-B466654F525D}"/>
                </a:ext>
              </a:extLst>
            </p:cNvPr>
            <p:cNvSpPr txBox="1"/>
            <p:nvPr/>
          </p:nvSpPr>
          <p:spPr>
            <a:xfrm>
              <a:off x="8111508" y="2621973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  <p:sp>
          <p:nvSpPr>
            <p:cNvPr id="175" name="Legend3">
              <a:extLst>
                <a:ext uri="{FF2B5EF4-FFF2-40B4-BE49-F238E27FC236}">
                  <a16:creationId xmlns:a16="http://schemas.microsoft.com/office/drawing/2014/main" id="{DA7660EB-4D51-4982-8372-6E58C50CDE5E}"/>
                </a:ext>
              </a:extLst>
            </p:cNvPr>
            <p:cNvSpPr txBox="1"/>
            <p:nvPr/>
          </p:nvSpPr>
          <p:spPr>
            <a:xfrm>
              <a:off x="8111508" y="2993394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  <p:sp>
          <p:nvSpPr>
            <p:cNvPr id="176" name="LineLegend3">
              <a:extLst>
                <a:ext uri="{FF2B5EF4-FFF2-40B4-BE49-F238E27FC236}">
                  <a16:creationId xmlns:a16="http://schemas.microsoft.com/office/drawing/2014/main" id="{966C354A-0204-46EB-8E36-0146C3FD319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495285" y="3084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200" baseline="0" dirty="0">
                <a:ea typeface="+mn-ea"/>
              </a:endParaRPr>
            </a:p>
          </p:txBody>
        </p:sp>
        <p:sp>
          <p:nvSpPr>
            <p:cNvPr id="177" name="LineLegend2">
              <a:extLst>
                <a:ext uri="{FF2B5EF4-FFF2-40B4-BE49-F238E27FC236}">
                  <a16:creationId xmlns:a16="http://schemas.microsoft.com/office/drawing/2014/main" id="{B87C293D-A7CD-4508-B0B1-2017113A58A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495285" y="2710816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200" baseline="0" dirty="0">
                <a:ea typeface="+mn-ea"/>
              </a:endParaRPr>
            </a:p>
          </p:txBody>
        </p:sp>
        <p:sp>
          <p:nvSpPr>
            <p:cNvPr id="178" name="LineLegend1">
              <a:extLst>
                <a:ext uri="{FF2B5EF4-FFF2-40B4-BE49-F238E27FC236}">
                  <a16:creationId xmlns:a16="http://schemas.microsoft.com/office/drawing/2014/main" id="{4456FE58-0255-4DBB-92A8-6CC5F84B719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495285" y="234288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200" baseline="0" dirty="0">
                <a:ea typeface="+mn-ea"/>
              </a:endParaRPr>
            </a:p>
          </p:txBody>
        </p:sp>
      </p:grpSp>
      <p:grpSp>
        <p:nvGrpSpPr>
          <p:cNvPr id="179" name="LegendMoons" hidden="1">
            <a:extLst>
              <a:ext uri="{FF2B5EF4-FFF2-40B4-BE49-F238E27FC236}">
                <a16:creationId xmlns:a16="http://schemas.microsoft.com/office/drawing/2014/main" id="{70A0319B-8EBB-4F65-9A96-1B1BB35625B1}"/>
              </a:ext>
            </a:extLst>
          </p:cNvPr>
          <p:cNvGrpSpPr/>
          <p:nvPr userDrawn="1"/>
        </p:nvGrpSpPr>
        <p:grpSpPr>
          <a:xfrm>
            <a:off x="10487412" y="1289274"/>
            <a:ext cx="979930" cy="1731859"/>
            <a:chOff x="7723680" y="1702457"/>
            <a:chExt cx="734948" cy="1731859"/>
          </a:xfrm>
        </p:grpSpPr>
        <p:sp>
          <p:nvSpPr>
            <p:cNvPr id="201" name="Legend1">
              <a:extLst>
                <a:ext uri="{FF2B5EF4-FFF2-40B4-BE49-F238E27FC236}">
                  <a16:creationId xmlns:a16="http://schemas.microsoft.com/office/drawing/2014/main" id="{49BB8121-D802-4602-ABD0-B61681B018F3}"/>
                </a:ext>
              </a:extLst>
            </p:cNvPr>
            <p:cNvSpPr txBox="1"/>
            <p:nvPr/>
          </p:nvSpPr>
          <p:spPr>
            <a:xfrm>
              <a:off x="8076312" y="1725205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  <p:sp>
          <p:nvSpPr>
            <p:cNvPr id="202" name="Legend2">
              <a:extLst>
                <a:ext uri="{FF2B5EF4-FFF2-40B4-BE49-F238E27FC236}">
                  <a16:creationId xmlns:a16="http://schemas.microsoft.com/office/drawing/2014/main" id="{5EBAE2BA-95BE-43BE-ADD2-84B42D0356EE}"/>
                </a:ext>
              </a:extLst>
            </p:cNvPr>
            <p:cNvSpPr txBox="1"/>
            <p:nvPr/>
          </p:nvSpPr>
          <p:spPr>
            <a:xfrm>
              <a:off x="8076312" y="2100664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203" name="Legend3">
              <a:extLst>
                <a:ext uri="{FF2B5EF4-FFF2-40B4-BE49-F238E27FC236}">
                  <a16:creationId xmlns:a16="http://schemas.microsoft.com/office/drawing/2014/main" id="{F96B8EA8-EAE8-4395-BA9F-6F1303EA348F}"/>
                </a:ext>
              </a:extLst>
            </p:cNvPr>
            <p:cNvSpPr txBox="1"/>
            <p:nvPr/>
          </p:nvSpPr>
          <p:spPr>
            <a:xfrm>
              <a:off x="8076312" y="2476123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  <p:sp>
          <p:nvSpPr>
            <p:cNvPr id="204" name="Legend4">
              <a:extLst>
                <a:ext uri="{FF2B5EF4-FFF2-40B4-BE49-F238E27FC236}">
                  <a16:creationId xmlns:a16="http://schemas.microsoft.com/office/drawing/2014/main" id="{BE4110F2-0F5F-4468-93FA-59E84FEB9E4A}"/>
                </a:ext>
              </a:extLst>
            </p:cNvPr>
            <p:cNvSpPr txBox="1"/>
            <p:nvPr/>
          </p:nvSpPr>
          <p:spPr>
            <a:xfrm>
              <a:off x="8076312" y="2851582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  <p:sp>
          <p:nvSpPr>
            <p:cNvPr id="205" name="Legend5">
              <a:extLst>
                <a:ext uri="{FF2B5EF4-FFF2-40B4-BE49-F238E27FC236}">
                  <a16:creationId xmlns:a16="http://schemas.microsoft.com/office/drawing/2014/main" id="{E16B28D1-13B2-4F91-8123-CC4749412D3B}"/>
                </a:ext>
              </a:extLst>
            </p:cNvPr>
            <p:cNvSpPr txBox="1"/>
            <p:nvPr/>
          </p:nvSpPr>
          <p:spPr>
            <a:xfrm>
              <a:off x="8076312" y="3227043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  <p:grpSp>
          <p:nvGrpSpPr>
            <p:cNvPr id="206" name="MoonLegend1">
              <a:extLst>
                <a:ext uri="{FF2B5EF4-FFF2-40B4-BE49-F238E27FC236}">
                  <a16:creationId xmlns:a16="http://schemas.microsoft.com/office/drawing/2014/main" id="{A16FD1F9-C160-4C4C-BAF6-716DDB869224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>
                <a:extLst>
                  <a:ext uri="{FF2B5EF4-FFF2-40B4-BE49-F238E27FC236}">
                    <a16:creationId xmlns:a16="http://schemas.microsoft.com/office/drawing/2014/main" id="{5282EEB0-B664-439C-B943-F7BB43CCAC05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>
                <a:extLst>
                  <a:ext uri="{FF2B5EF4-FFF2-40B4-BE49-F238E27FC236}">
                    <a16:creationId xmlns:a16="http://schemas.microsoft.com/office/drawing/2014/main" id="{68D40D9B-9DF0-4077-8151-E93B0977AD04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</p:grpSp>
        <p:grpSp>
          <p:nvGrpSpPr>
            <p:cNvPr id="207" name="MoonLegend2">
              <a:extLst>
                <a:ext uri="{FF2B5EF4-FFF2-40B4-BE49-F238E27FC236}">
                  <a16:creationId xmlns:a16="http://schemas.microsoft.com/office/drawing/2014/main" id="{F9F241E8-6251-451F-9BE9-2C8D83F44D6B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>
                <a:extLst>
                  <a:ext uri="{FF2B5EF4-FFF2-40B4-BE49-F238E27FC236}">
                    <a16:creationId xmlns:a16="http://schemas.microsoft.com/office/drawing/2014/main" id="{578B0A0D-F30C-40C1-A9C4-EB63E6138F46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>
                <a:extLst>
                  <a:ext uri="{FF2B5EF4-FFF2-40B4-BE49-F238E27FC236}">
                    <a16:creationId xmlns:a16="http://schemas.microsoft.com/office/drawing/2014/main" id="{87395151-2586-43D8-B836-6324CB407891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</p:grpSp>
        <p:grpSp>
          <p:nvGrpSpPr>
            <p:cNvPr id="208" name="MoonLegend3">
              <a:extLst>
                <a:ext uri="{FF2B5EF4-FFF2-40B4-BE49-F238E27FC236}">
                  <a16:creationId xmlns:a16="http://schemas.microsoft.com/office/drawing/2014/main" id="{B66D3648-DE5A-4E5C-8578-141D178A4ADB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id="{0D2DC89B-E4DB-4EBC-B12A-607EB3C23DE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>
                <a:extLst>
                  <a:ext uri="{FF2B5EF4-FFF2-40B4-BE49-F238E27FC236}">
                    <a16:creationId xmlns:a16="http://schemas.microsoft.com/office/drawing/2014/main" id="{50301F1B-4914-4337-B892-733925FD1C5A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</p:grpSp>
        <p:grpSp>
          <p:nvGrpSpPr>
            <p:cNvPr id="209" name="MoonLegend4">
              <a:extLst>
                <a:ext uri="{FF2B5EF4-FFF2-40B4-BE49-F238E27FC236}">
                  <a16:creationId xmlns:a16="http://schemas.microsoft.com/office/drawing/2014/main" id="{69C2ABAA-7291-4A19-A40B-3990AB445B9A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13" name="Oval 212">
                <a:extLst>
                  <a:ext uri="{FF2B5EF4-FFF2-40B4-BE49-F238E27FC236}">
                    <a16:creationId xmlns:a16="http://schemas.microsoft.com/office/drawing/2014/main" id="{B9D4D141-7E0B-42D0-994A-D8212F69EE2F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4" name="Arc 213">
                <a:extLst>
                  <a:ext uri="{FF2B5EF4-FFF2-40B4-BE49-F238E27FC236}">
                    <a16:creationId xmlns:a16="http://schemas.microsoft.com/office/drawing/2014/main" id="{397EC893-9249-44CD-982F-F7F0B99DFCA8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</p:grpSp>
        <p:grpSp>
          <p:nvGrpSpPr>
            <p:cNvPr id="210" name="MoonLegend5">
              <a:extLst>
                <a:ext uri="{FF2B5EF4-FFF2-40B4-BE49-F238E27FC236}">
                  <a16:creationId xmlns:a16="http://schemas.microsoft.com/office/drawing/2014/main" id="{CDCE6D47-F48F-4497-BD5A-E92F724CEE3D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11" name="Oval 210">
                <a:extLst>
                  <a:ext uri="{FF2B5EF4-FFF2-40B4-BE49-F238E27FC236}">
                    <a16:creationId xmlns:a16="http://schemas.microsoft.com/office/drawing/2014/main" id="{E8E291C3-4BCA-406E-8B9A-6A354B83EF5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2" name="Arc 211">
                <a:extLst>
                  <a:ext uri="{FF2B5EF4-FFF2-40B4-BE49-F238E27FC236}">
                    <a16:creationId xmlns:a16="http://schemas.microsoft.com/office/drawing/2014/main" id="{4C9C4DC9-D1E5-45F3-943E-09B75E72EE8C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</p:grpSp>
      </p:grpSp>
      <p:sp>
        <p:nvSpPr>
          <p:cNvPr id="141" name="Documenttype">
            <a:extLst>
              <a:ext uri="{FF2B5EF4-FFF2-40B4-BE49-F238E27FC236}">
                <a16:creationId xmlns:a16="http://schemas.microsoft.com/office/drawing/2014/main" id="{29A17418-B99F-4330-B927-CCF962E4661F}"/>
              </a:ext>
            </a:extLst>
          </p:cNvPr>
          <p:cNvSpPr txBox="1">
            <a:spLocks/>
          </p:cNvSpPr>
          <p:nvPr userDrawn="1">
            <p:custDataLst>
              <p:tags r:id="rId26"/>
            </p:custDataLst>
          </p:nvPr>
        </p:nvSpPr>
        <p:spPr>
          <a:xfrm>
            <a:off x="549486" y="641976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90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832603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90" r:id="rId16"/>
    <p:sldLayoutId id="2147483691" r:id="rId17"/>
  </p:sldLayoutIdLst>
  <p:txStyles>
    <p:titleStyle>
      <a:lvl1pPr algn="l" defTabSz="685783" rtl="0" eaLnBrk="1" latinLnBrk="0" hangingPunct="1">
        <a:lnSpc>
          <a:spcPct val="100000"/>
        </a:lnSpc>
        <a:spcBef>
          <a:spcPct val="0"/>
        </a:spcBef>
        <a:buNone/>
        <a:defRPr lang="en-US" sz="22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783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685783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10000"/>
        <a:buFont typeface="Wingdings" panose="05000000000000000000" pitchFamily="2" charset="2"/>
        <a:buChar char="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42913" indent="-214313" algn="l" defTabSz="685783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10000"/>
        <a:buFont typeface="Arial" panose="020B0604020202020204" pitchFamily="34" charset="0"/>
        <a:buChar char="‒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98488" indent="-152400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rgbClr val="000000"/>
        </a:buClr>
        <a:buSzPct val="100000"/>
        <a:buFont typeface="Arial" panose="020B0604020202020204" pitchFamily="34" charset="0"/>
        <a:buChar char="•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817563" indent="-147638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rgbClr val="000000"/>
        </a:buClr>
        <a:buSzPct val="100000"/>
        <a:buFont typeface="Arial" panose="020B0604020202020204" pitchFamily="34" charset="0"/>
        <a:buChar char="̶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5497">
          <p15:clr>
            <a:srgbClr val="F26B43"/>
          </p15:clr>
        </p15:guide>
        <p15:guide id="6" pos="259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BB607E6-0B1F-BB4A-9794-46A0CA431F4F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01E840A-BCBE-4B40-B158-B16879D32C9F}"/>
              </a:ext>
            </a:extLst>
          </p:cNvPr>
          <p:cNvSpPr/>
          <p:nvPr userDrawn="1"/>
        </p:nvSpPr>
        <p:spPr>
          <a:xfrm>
            <a:off x="0" y="0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C35157-6F8A-478F-B460-90E403728E59}" type="datetimeFigureOut">
              <a:rPr lang="en-US" smtClean="0"/>
              <a:t>1/2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41DF06-DED9-444E-BFF7-793F95CA543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838200" y="-18738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733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3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3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3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da.gov/media/144414/download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6.xml"/><Relationship Id="rId5" Type="http://schemas.openxmlformats.org/officeDocument/2006/relationships/hyperlink" Target="https://www.fda.gov/media/146305/download" TargetMode="External"/><Relationship Id="rId4" Type="http://schemas.openxmlformats.org/officeDocument/2006/relationships/hyperlink" Target="https://www.fda.gov/media/144638/download" TargetMode="Externa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ass.gov/covid-19-vaccine-in-massachusetts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3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ass.gov/info-details/covid-19-vaccination-program#latest-vaccine-update-in-ma-" TargetMode="Externa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Relationship Id="rId6" Type="http://schemas.openxmlformats.org/officeDocument/2006/relationships/hyperlink" Target="mailto:COVID-19-Vaccine-Plan-MA@mass.gov" TargetMode="External"/><Relationship Id="rId5" Type="http://schemas.openxmlformats.org/officeDocument/2006/relationships/hyperlink" Target="https://www.cdc.gov/coronavirus/2019-ncov/vaccines/index.html" TargetMode="External"/><Relationship Id="rId4" Type="http://schemas.openxmlformats.org/officeDocument/2006/relationships/hyperlink" Target="https://www.mass.gov/info-details/covid-19-vaccine-frequently-asked-questions" TargetMode="Externa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ass.gov/info-details/covid-19-vaccine-frequently-asked-questions" TargetMode="External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ass.gov/info-details/stop-covid-19-vaccine-graphics" TargetMode="External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www.mass.gov/info-details/covid-19-printable-fact-sheets" TargetMode="External"/><Relationship Id="rId5" Type="http://schemas.openxmlformats.org/officeDocument/2006/relationships/hyperlink" Target="https://www.cdc.gov/coronavirus/2019-ncov/vaccines/toolkits/community-organization.html" TargetMode="External"/><Relationship Id="rId4" Type="http://schemas.openxmlformats.org/officeDocument/2006/relationships/hyperlink" Target="https://www.mass.gov/info-details/trust-the-facts-get-the-vax-campaign-materials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acialequitytools.org/resources/fundamentals/core-concepts/structural-racism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hyperlink" Target="https://www.cdc.gov/vaccines/acip/index.html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EC1C4EF3-3A8A-F442-8EF2-6A57E937ACE1}"/>
              </a:ext>
            </a:extLst>
          </p:cNvPr>
          <p:cNvSpPr txBox="1">
            <a:spLocks/>
          </p:cNvSpPr>
          <p:nvPr/>
        </p:nvSpPr>
        <p:spPr>
          <a:xfrm>
            <a:off x="2118534" y="2057400"/>
            <a:ext cx="8153399" cy="152400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000" b="1" i="0" kern="1200" cap="all" baseline="0">
                <a:solidFill>
                  <a:srgbClr val="1C263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algn="ctr" fontAlgn="auto">
              <a:lnSpc>
                <a:spcPts val="6700"/>
              </a:lnSpc>
              <a:spcAft>
                <a:spcPts val="0"/>
              </a:spcAft>
              <a:defRPr/>
            </a:pPr>
            <a:r>
              <a:rPr lang="fr-CA" sz="3600" dirty="0" err="1">
                <a:solidFill>
                  <a:schemeClr val="bg1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មគ្គុទ្ទេសក</a:t>
            </a:r>
            <a:r>
              <a:rPr lang="fr-CA" sz="3600" dirty="0">
                <a:solidFill>
                  <a:schemeClr val="bg1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៍ </a:t>
            </a:r>
            <a:r>
              <a:rPr lang="fr-CA" sz="3600" dirty="0" err="1">
                <a:solidFill>
                  <a:schemeClr val="bg1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ដើម្បី</a:t>
            </a:r>
            <a:r>
              <a:rPr lang="km-KH" sz="3600" dirty="0">
                <a:solidFill>
                  <a:schemeClr val="bg1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ធ្វើពិធី</a:t>
            </a:r>
            <a:r>
              <a:rPr lang="fr-CA" sz="3600" dirty="0" err="1">
                <a:solidFill>
                  <a:schemeClr val="bg1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វេទិកាសហគមន</a:t>
            </a:r>
            <a:r>
              <a:rPr lang="fr-CA" sz="3600" dirty="0">
                <a:solidFill>
                  <a:schemeClr val="bg1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៍ </a:t>
            </a:r>
          </a:p>
          <a:p>
            <a:pPr lvl="0" algn="ctr" fontAlgn="auto">
              <a:lnSpc>
                <a:spcPts val="6700"/>
              </a:lnSpc>
              <a:spcAft>
                <a:spcPts val="0"/>
              </a:spcAft>
              <a:defRPr/>
            </a:pPr>
            <a:r>
              <a:rPr lang="fr-CA" sz="3600" dirty="0" err="1">
                <a:solidFill>
                  <a:schemeClr val="bg1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ស្ដីពីវ៉ាក់សាំង</a:t>
            </a:r>
            <a:r>
              <a:rPr lang="fr-CA" sz="3800" dirty="0">
                <a:solidFill>
                  <a:schemeClr val="bg1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 </a:t>
            </a:r>
            <a:r>
              <a:rPr lang="fr-CA" sz="4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</a:p>
        </p:txBody>
      </p:sp>
      <p:sp>
        <p:nvSpPr>
          <p:cNvPr id="5" name="Subtitle 3"/>
          <p:cNvSpPr txBox="1">
            <a:spLocks/>
          </p:cNvSpPr>
          <p:nvPr/>
        </p:nvSpPr>
        <p:spPr>
          <a:xfrm>
            <a:off x="983495" y="4310743"/>
            <a:ext cx="10235609" cy="778707"/>
          </a:xfrm>
          <a:prstGeom prst="rect">
            <a:avLst/>
          </a:prstGeom>
        </p:spPr>
        <p:txBody>
          <a:bodyPr/>
          <a:lstStyle>
            <a:lvl1pPr marL="228600" indent="-228600" algn="l" rtl="0" eaLnBrk="0" fontAlgn="base" hangingPunct="0">
              <a:lnSpc>
                <a:spcPct val="110000"/>
              </a:lnSpc>
              <a:spcBef>
                <a:spcPts val="1000"/>
              </a:spcBef>
              <a:spcAft>
                <a:spcPct val="0"/>
              </a:spcAft>
              <a:buClr>
                <a:srgbClr val="CB1F54"/>
              </a:buClr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0" fontAlgn="base" hangingPunct="0">
              <a:lnSpc>
                <a:spcPct val="110000"/>
              </a:lnSpc>
              <a:spcBef>
                <a:spcPts val="500"/>
              </a:spcBef>
              <a:spcAft>
                <a:spcPct val="0"/>
              </a:spcAft>
              <a:buClr>
                <a:srgbClr val="CB1F54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lnSpc>
                <a:spcPct val="110000"/>
              </a:lnSpc>
              <a:spcBef>
                <a:spcPts val="500"/>
              </a:spcBef>
              <a:spcAft>
                <a:spcPct val="0"/>
              </a:spcAft>
              <a:buClr>
                <a:srgbClr val="CB1F54"/>
              </a:buClr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lnSpc>
                <a:spcPct val="110000"/>
              </a:lnSpc>
              <a:spcBef>
                <a:spcPts val="500"/>
              </a:spcBef>
              <a:spcAft>
                <a:spcPct val="0"/>
              </a:spcAft>
              <a:buClr>
                <a:srgbClr val="CB1F54"/>
              </a:buClr>
              <a:buFont typeface="Arial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CB1F54"/>
              </a:buClr>
              <a:buFont typeface="Arial" charset="0"/>
              <a:buChar char="•"/>
              <a:defRPr kern="1200">
                <a:solidFill>
                  <a:srgbClr val="1C263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fr-CA" sz="3000" dirty="0" err="1">
                <a:solidFill>
                  <a:schemeClr val="bg1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បាន</a:t>
            </a:r>
            <a:r>
              <a:rPr lang="km-KH" sz="3000" dirty="0">
                <a:solidFill>
                  <a:schemeClr val="bg1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បច្ចុប្បន្នភាព</a:t>
            </a:r>
            <a:r>
              <a:rPr lang="fr-CA" sz="3000" dirty="0" err="1">
                <a:solidFill>
                  <a:schemeClr val="bg1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ថ្ងៃទី</a:t>
            </a:r>
            <a:r>
              <a:rPr lang="en-US" sz="3000" dirty="0">
                <a:solidFill>
                  <a:schemeClr val="bg1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25</a:t>
            </a:r>
            <a:r>
              <a:rPr lang="fr-CA" sz="3000" dirty="0">
                <a:solidFill>
                  <a:schemeClr val="bg1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3000" dirty="0" err="1">
                <a:solidFill>
                  <a:schemeClr val="bg1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ខែ</a:t>
            </a:r>
            <a:r>
              <a:rPr lang="km-KH" sz="3000" dirty="0">
                <a:solidFill>
                  <a:schemeClr val="bg1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មករា​​</a:t>
            </a:r>
            <a:r>
              <a:rPr lang="fr-CA" sz="3000" dirty="0">
                <a:solidFill>
                  <a:schemeClr val="bg1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km-KH" sz="3000" dirty="0">
                <a:solidFill>
                  <a:schemeClr val="bg1"/>
                </a:solidFill>
                <a:latin typeface="Kh Content" panose="02000500000000020004" pitchFamily="2" charset="0"/>
                <a:cs typeface="Kh Content" panose="02000500000000020004" pitchFamily="2" charset="0"/>
              </a:rPr>
              <a:t>ឆ្នាំ</a:t>
            </a:r>
            <a:r>
              <a:rPr lang="fr-C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</a:t>
            </a:r>
            <a:r>
              <a:rPr lang="km-KH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endParaRPr lang="fr-CA" sz="3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02280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5" name="Google Shape;445;p81"/>
          <p:cNvSpPr/>
          <p:nvPr/>
        </p:nvSpPr>
        <p:spPr>
          <a:xfrm>
            <a:off x="201900" y="1136942"/>
            <a:ext cx="11227800" cy="7847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km-KH" sz="2100" b="0" i="0" u="none" strike="noStrike" cap="none" dirty="0">
                <a:solidFill>
                  <a:srgbClr val="000000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ថិរវេ</a:t>
            </a:r>
            <a:r>
              <a:rPr lang="fr-CA" sz="2100" b="0" i="0" u="none" strike="noStrike" cap="none" dirty="0" err="1">
                <a:solidFill>
                  <a:srgbClr val="000000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លាបានលឿនមែន</a:t>
            </a:r>
            <a:r>
              <a:rPr lang="fr-CA" sz="2100" b="0" i="0" u="none" strike="noStrike" cap="none" dirty="0">
                <a:solidFill>
                  <a:srgbClr val="000000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 </a:t>
            </a:r>
            <a:r>
              <a:rPr lang="fr-CA" sz="2100" b="0" i="0" u="none" strike="noStrike" cap="none" dirty="0" err="1">
                <a:solidFill>
                  <a:srgbClr val="000000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ប៉ុន្ដែមិនដែលបាន</a:t>
            </a:r>
            <a:r>
              <a:rPr lang="fr-CA" sz="2100" dirty="0" err="1">
                <a:solidFill>
                  <a:srgbClr val="000000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ធ្វេសប្រហែស</a:t>
            </a:r>
            <a:r>
              <a:rPr lang="fr-CA" sz="2100" b="0" i="0" u="none" strike="noStrike" cap="none" dirty="0" err="1">
                <a:solidFill>
                  <a:srgbClr val="000000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លើសុវត្ថិភាពទេ</a:t>
            </a:r>
            <a:r>
              <a:rPr lang="fr-CA" sz="2100" b="0" i="0" u="none" strike="noStrike" cap="none" dirty="0">
                <a:solidFill>
                  <a:srgbClr val="000000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។ </a:t>
            </a:r>
            <a:r>
              <a:rPr lang="fr-CA" sz="2100" b="0" i="0" u="none" strike="noStrike" cap="none" dirty="0" err="1">
                <a:solidFill>
                  <a:srgbClr val="000000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នេះគឺជារបៀប</a:t>
            </a:r>
            <a:r>
              <a:rPr lang="fr-CA" sz="2100" b="0" i="0" u="none" strike="noStrike" cap="none" dirty="0">
                <a:solidFill>
                  <a:srgbClr val="000000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៖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46" name="Google Shape;446;p81" descr="Open book"/>
          <p:cNvPicPr preferRelativeResize="0"/>
          <p:nvPr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426" y="1732493"/>
            <a:ext cx="1684106" cy="1659302"/>
          </a:xfrm>
          <a:prstGeom prst="rect">
            <a:avLst/>
          </a:prstGeom>
          <a:noFill/>
          <a:ln>
            <a:noFill/>
          </a:ln>
        </p:spPr>
      </p:pic>
      <p:pic>
        <p:nvPicPr>
          <p:cNvPr id="447" name="Google Shape;447;p81" descr="Dollar sign"/>
          <p:cNvPicPr preferRelativeResize="0"/>
          <p:nvPr/>
        </p:nvPicPr>
        <p:blipFill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5800" y="1732493"/>
            <a:ext cx="1684107" cy="1694194"/>
          </a:xfrm>
          <a:prstGeom prst="rect">
            <a:avLst/>
          </a:prstGeom>
          <a:noFill/>
          <a:ln>
            <a:noFill/>
          </a:ln>
        </p:spPr>
      </p:pic>
      <p:pic>
        <p:nvPicPr>
          <p:cNvPr id="448" name="Google Shape;448;p81" descr="Magnifying glass and clipboard"/>
          <p:cNvPicPr preferRelativeResize="0"/>
          <p:nvPr/>
        </p:nvPicPr>
        <p:blipFill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5010" y="4131290"/>
            <a:ext cx="1684107" cy="1746169"/>
          </a:xfrm>
          <a:prstGeom prst="rect">
            <a:avLst/>
          </a:prstGeom>
          <a:noFill/>
          <a:ln>
            <a:noFill/>
          </a:ln>
        </p:spPr>
      </p:pic>
      <p:pic>
        <p:nvPicPr>
          <p:cNvPr id="449" name="Google Shape;449;p81" descr="Person raising hand"/>
          <p:cNvPicPr preferRelativeResize="0"/>
          <p:nvPr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276" y="4068077"/>
            <a:ext cx="1786059" cy="1822735"/>
          </a:xfrm>
          <a:prstGeom prst="rect">
            <a:avLst/>
          </a:prstGeom>
          <a:noFill/>
          <a:ln>
            <a:noFill/>
          </a:ln>
        </p:spPr>
      </p:pic>
      <p:sp>
        <p:nvSpPr>
          <p:cNvPr id="450" name="Google Shape;450;p81"/>
          <p:cNvSpPr/>
          <p:nvPr/>
        </p:nvSpPr>
        <p:spPr>
          <a:xfrm>
            <a:off x="2039263" y="2120000"/>
            <a:ext cx="4009200" cy="14772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l" rtl="0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CA" sz="2100" b="1" dirty="0" err="1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យើងមានព័ត៌មានជាជំនួយរួចហើយ</a:t>
            </a:r>
            <a:r>
              <a:rPr lang="fr-CA" sz="2100" dirty="0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អំពីកូរ៉ុណាវីរុស</a:t>
            </a:r>
            <a:r>
              <a:rPr lang="fr-CA" sz="2100" dirty="0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ដូច្នេះយើងមិនមែន</a:t>
            </a:r>
            <a:r>
              <a:rPr lang="fr-CA" sz="2100" dirty="0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បានចាប់ផ្ដើមពីបាតដៃទទេឡើយ</a:t>
            </a:r>
            <a:r>
              <a:rPr lang="fr-CA" sz="2100" dirty="0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។ </a:t>
            </a:r>
          </a:p>
        </p:txBody>
      </p:sp>
      <p:sp>
        <p:nvSpPr>
          <p:cNvPr id="451" name="Google Shape;451;p81"/>
          <p:cNvSpPr/>
          <p:nvPr/>
        </p:nvSpPr>
        <p:spPr>
          <a:xfrm>
            <a:off x="7616270" y="2027820"/>
            <a:ext cx="4009200" cy="19389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l" rtl="0">
              <a:lnSpc>
                <a:spcPts val="3600"/>
              </a:lnSpc>
              <a:spcAft>
                <a:spcPts val="0"/>
              </a:spcAft>
              <a:buNone/>
            </a:pPr>
            <a:r>
              <a:rPr lang="fr-CA" sz="2100" dirty="0" err="1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សហរដ្ឋ</a:t>
            </a:r>
            <a:r>
              <a:rPr lang="fr-CA" sz="2100" dirty="0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និងរដ្ឋាភិបាលផ្សេងទៀត</a:t>
            </a:r>
            <a:r>
              <a:rPr lang="fr-CA" sz="2100" dirty="0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 </a:t>
            </a:r>
            <a:r>
              <a:rPr lang="fr-CA" sz="2100" b="1" dirty="0" err="1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បានចាយប្រាក់យ៉ាងច្រើន</a:t>
            </a:r>
            <a:r>
              <a:rPr lang="fr-CA" sz="2100" dirty="0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ដើម្បី</a:t>
            </a:r>
            <a:endParaRPr lang="fr-CA" sz="2100" dirty="0">
              <a:latin typeface="Kh Content" panose="02000500000000020004" pitchFamily="2" charset="0"/>
              <a:ea typeface="Calibri"/>
              <a:cs typeface="Kh Content" panose="02000500000000020004" pitchFamily="2" charset="0"/>
              <a:sym typeface="Calibri"/>
            </a:endParaRPr>
          </a:p>
          <a:p>
            <a:pPr marL="0" lvl="0" indent="0" algn="l" rtl="0">
              <a:lnSpc>
                <a:spcPts val="3600"/>
              </a:lnSpc>
              <a:spcAft>
                <a:spcPts val="0"/>
              </a:spcAft>
              <a:buNone/>
            </a:pPr>
            <a:r>
              <a:rPr lang="fr-CA" sz="2100" dirty="0" err="1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គាំទ្រក្រុមហ៊ុនវ៉ាក់សាំង</a:t>
            </a:r>
            <a:r>
              <a:rPr lang="fr-CA" sz="2100" dirty="0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និងកិច្ចការរបស់គេ</a:t>
            </a:r>
            <a:r>
              <a:rPr lang="fr-CA" sz="2100" dirty="0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។</a:t>
            </a:r>
            <a:r>
              <a:rPr lang="fr-CA" sz="2400" dirty="0">
                <a:latin typeface="Kh Content"/>
                <a:ea typeface="Calibri"/>
                <a:cs typeface="Calibri"/>
                <a:sym typeface="Calibri"/>
              </a:rPr>
              <a:t>  </a:t>
            </a:r>
          </a:p>
        </p:txBody>
      </p:sp>
      <p:sp>
        <p:nvSpPr>
          <p:cNvPr id="452" name="Google Shape;452;p81"/>
          <p:cNvSpPr/>
          <p:nvPr/>
        </p:nvSpPr>
        <p:spPr>
          <a:xfrm>
            <a:off x="2048700" y="4292829"/>
            <a:ext cx="3767100" cy="19389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l" rtl="0">
              <a:lnSpc>
                <a:spcPts val="3600"/>
              </a:lnSpc>
              <a:spcAft>
                <a:spcPts val="0"/>
              </a:spcAft>
              <a:buNone/>
            </a:pPr>
            <a:r>
              <a:rPr lang="fr-CA" sz="2100" dirty="0" err="1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មនុស្សយ៉ាងច្រើន</a:t>
            </a:r>
            <a:r>
              <a:rPr lang="fr-CA" sz="2100" dirty="0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បានចូលរួមក្នុងវេជ្ជសាស្រ្ដសាក</a:t>
            </a:r>
            <a:r>
              <a:rPr lang="fr-CA" sz="2100" dirty="0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ហើយយើង</a:t>
            </a:r>
            <a:r>
              <a:rPr lang="fr-CA" sz="2100" b="1" dirty="0" err="1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មិនបាច់ចំណាយពេល</a:t>
            </a:r>
            <a:r>
              <a:rPr lang="fr-CA" sz="2100" b="1" dirty="0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 </a:t>
            </a:r>
            <a:r>
              <a:rPr lang="fr-CA" sz="2100" b="1" dirty="0" err="1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ក្នុងការរក</a:t>
            </a:r>
            <a:endParaRPr lang="fr-CA" sz="2100" b="1" dirty="0">
              <a:latin typeface="Kh Content" panose="02000500000000020004" pitchFamily="2" charset="0"/>
              <a:ea typeface="Calibri"/>
              <a:cs typeface="Kh Content" panose="02000500000000020004" pitchFamily="2" charset="0"/>
              <a:sym typeface="Calibri"/>
            </a:endParaRPr>
          </a:p>
          <a:p>
            <a:pPr marL="0" lvl="0" indent="0" algn="l" rtl="0">
              <a:lnSpc>
                <a:spcPts val="3600"/>
              </a:lnSpc>
              <a:spcAft>
                <a:spcPts val="0"/>
              </a:spcAft>
              <a:buNone/>
            </a:pPr>
            <a:r>
              <a:rPr lang="fr-CA" sz="2100" b="1" dirty="0" err="1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អ្នកស្ម័គ្រចិត្ដទេ</a:t>
            </a:r>
            <a:r>
              <a:rPr lang="fr-CA" sz="2100" dirty="0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។</a:t>
            </a:r>
            <a:r>
              <a:rPr lang="fr-CA" sz="2100" b="1" dirty="0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  </a:t>
            </a:r>
          </a:p>
        </p:txBody>
      </p:sp>
      <p:sp>
        <p:nvSpPr>
          <p:cNvPr id="453" name="Google Shape;453;p81"/>
          <p:cNvSpPr/>
          <p:nvPr/>
        </p:nvSpPr>
        <p:spPr>
          <a:xfrm>
            <a:off x="7616270" y="4238938"/>
            <a:ext cx="4236000" cy="21441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l" rtl="0">
              <a:lnSpc>
                <a:spcPts val="3200"/>
              </a:lnSpc>
              <a:spcAft>
                <a:spcPts val="0"/>
              </a:spcAft>
              <a:buNone/>
            </a:pPr>
            <a:r>
              <a:rPr lang="fr-CA" sz="2100" dirty="0" err="1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ការផលិតបានកើតឡើង</a:t>
            </a:r>
            <a:r>
              <a:rPr lang="fr-CA" sz="2100" b="1" dirty="0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 </a:t>
            </a:r>
            <a:r>
              <a:rPr lang="fr-CA" sz="2100" b="1" dirty="0" err="1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នៅពេល</a:t>
            </a:r>
            <a:endParaRPr lang="fr-CA" sz="2100" b="1" dirty="0">
              <a:latin typeface="Kh Content" panose="02000500000000020004" pitchFamily="2" charset="0"/>
              <a:ea typeface="Calibri"/>
              <a:cs typeface="Kh Content" panose="02000500000000020004" pitchFamily="2" charset="0"/>
              <a:sym typeface="Calibri"/>
            </a:endParaRPr>
          </a:p>
          <a:p>
            <a:pPr marL="0" lvl="0" indent="0" algn="l" rtl="0">
              <a:lnSpc>
                <a:spcPts val="3200"/>
              </a:lnSpc>
              <a:spcAft>
                <a:spcPts val="0"/>
              </a:spcAft>
              <a:buNone/>
            </a:pPr>
            <a:r>
              <a:rPr lang="fr-CA" sz="2100" b="1" dirty="0" err="1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ព្រមគ្នា</a:t>
            </a:r>
            <a:r>
              <a:rPr lang="fr-CA" sz="2100" b="1" dirty="0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 </a:t>
            </a:r>
            <a:r>
              <a:rPr lang="fr-CA" sz="2100" b="1" dirty="0" err="1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ខណៈការសិក្សាពីសុវត្ថិភាព</a:t>
            </a:r>
            <a:r>
              <a:rPr lang="fr-CA" sz="2100" dirty="0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ដូច្នេះហើយ</a:t>
            </a:r>
            <a:r>
              <a:rPr lang="fr-CA" sz="2100" dirty="0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វ៉ាក់សាំងបានស្រេចបាច</a:t>
            </a:r>
            <a:r>
              <a:rPr lang="fr-CA" sz="2100" dirty="0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់</a:t>
            </a:r>
          </a:p>
          <a:p>
            <a:pPr marL="0" lvl="0" indent="0" algn="l" rtl="0">
              <a:lnSpc>
                <a:spcPts val="3200"/>
              </a:lnSpc>
              <a:spcAft>
                <a:spcPts val="0"/>
              </a:spcAft>
              <a:buNone/>
            </a:pPr>
            <a:r>
              <a:rPr lang="fr-CA" sz="2100" dirty="0" err="1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សំរាប់ចែកចាយ</a:t>
            </a:r>
            <a:r>
              <a:rPr lang="fr-CA" sz="2100" dirty="0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កាលណាវាត្រូវបានទទួលស្គាល</a:t>
            </a:r>
            <a:r>
              <a:rPr lang="fr-CA" sz="2100" dirty="0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់។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1E34E7A-336B-4015-BC19-F6F91306BB45}"/>
              </a:ext>
            </a:extLst>
          </p:cNvPr>
          <p:cNvSpPr txBox="1"/>
          <p:nvPr/>
        </p:nvSpPr>
        <p:spPr>
          <a:xfrm>
            <a:off x="311147" y="246221"/>
            <a:ext cx="11314323" cy="46166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fr-CA" sz="3000">
                <a:latin typeface="Kh Content" panose="02000500000000020004" pitchFamily="2" charset="0"/>
                <a:cs typeface="Kh Content" panose="02000500000000020004" pitchFamily="2" charset="0"/>
              </a:rPr>
              <a:t>តើវាមានសុវត្ថិភាពដូចម្ដេច បើសិនវាបានកើតឡើង រហ័សដូច្នេះ?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This image shows an example of the COVID-19 vaccine development timeline compared to a traditional vaccine development timeline. In particular, it shows how the COVID-19 vaccine manufacturing and development step happened at the same time as the testing and approvals.">
            <a:extLst>
              <a:ext uri="{FF2B5EF4-FFF2-40B4-BE49-F238E27FC236}">
                <a16:creationId xmlns:a16="http://schemas.microsoft.com/office/drawing/2014/main" id="{60A87389-14A5-430A-B91F-2404E62DD6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1125415" y="643095"/>
            <a:ext cx="4551904" cy="46222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2000">
                <a:latin typeface="Kh Content" panose="02000500000000020004" pitchFamily="2" charset="0"/>
                <a:cs typeface="Kh Content" panose="02000500000000020004" pitchFamily="2" charset="0"/>
              </a:rPr>
              <a:t>ឧទាហរណ៍នៃថិរវេលាវ៉ាក់សាំង </a:t>
            </a:r>
            <a:r>
              <a:rPr lang="en-US" sz="240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en-US" sz="2000">
                <a:latin typeface="Kh Content" panose="02000500000000020004" pitchFamily="2" charset="0"/>
                <a:cs typeface="Kh Content" panose="02000500000000020004" pitchFamily="2" charset="0"/>
              </a:rPr>
              <a:t>៖</a:t>
            </a:r>
            <a:endParaRPr lang="en-US" sz="2000" dirty="0">
              <a:latin typeface="Kh Content" panose="02000500000000020004" pitchFamily="2" charset="0"/>
              <a:cs typeface="Kh Content" panose="02000500000000020004" pitchFamily="2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03868" y="1386673"/>
            <a:ext cx="10279464" cy="27130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>
                <a:latin typeface="Kh Content" panose="02000500000000020004" pitchFamily="2" charset="0"/>
                <a:cs typeface="Kh Content" panose="02000500000000020004" pitchFamily="2" charset="0"/>
              </a:rPr>
              <a:t>ស្រាវជ្រាវ                  ការបង្កើតដំបូង                                 ការធ្វើតេស្ដ            ការទទួលស្គាល់                 ការផ្គត់ផ្គង់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301073" y="1386673"/>
            <a:ext cx="1868993" cy="27130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8" name="TextBox 7"/>
          <p:cNvSpPr txBox="1"/>
          <p:nvPr/>
        </p:nvSpPr>
        <p:spPr>
          <a:xfrm>
            <a:off x="5174901" y="2893925"/>
            <a:ext cx="2883877" cy="35169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>
                <a:latin typeface="Kh Content" panose="02000500000000020004" pitchFamily="2" charset="0"/>
                <a:cs typeface="Kh Content" panose="02000500000000020004" pitchFamily="2" charset="0"/>
              </a:rPr>
              <a:t>      ការផលិត និង ការបង្កើត</a:t>
            </a:r>
            <a:endParaRPr lang="en-US" sz="1400" dirty="0"/>
          </a:p>
        </p:txBody>
      </p:sp>
      <p:sp>
        <p:nvSpPr>
          <p:cNvPr id="9" name="TextBox 8"/>
          <p:cNvSpPr txBox="1"/>
          <p:nvPr/>
        </p:nvSpPr>
        <p:spPr>
          <a:xfrm>
            <a:off x="1004835" y="4320791"/>
            <a:ext cx="2903974" cy="41198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2000">
                <a:latin typeface="Kh Content" panose="02000500000000020004" pitchFamily="2" charset="0"/>
                <a:cs typeface="Kh Content" panose="02000500000000020004" pitchFamily="2" charset="0"/>
              </a:rPr>
              <a:t>ថិរវេលាជាធម្មតា</a:t>
            </a:r>
            <a:endParaRPr lang="en-US" sz="2000" dirty="0">
              <a:latin typeface="Kh Content" panose="02000500000000020004" pitchFamily="2" charset="0"/>
              <a:cs typeface="Kh Content" panose="02000500000000020004" pitchFamily="2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74207" y="5375868"/>
            <a:ext cx="10621107" cy="200967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>
                <a:latin typeface="Kh Content" panose="02000500000000020004" pitchFamily="2" charset="0"/>
                <a:cs typeface="Kh Content" panose="02000500000000020004" pitchFamily="2" charset="0"/>
              </a:rPr>
              <a:t>ស្រាវជ្រាវ                       ការបង្កើតដំបូង                          ការធ្វើតេស្ដ              ការទទួលស្គាល់                ការផលិត និង ការបង្កើត       ការផ្គត់ផ្គង់   </a:t>
            </a:r>
            <a:endParaRPr lang="en-US" sz="1400" dirty="0">
              <a:latin typeface="Kh Content" panose="02000500000000020004" pitchFamily="2" charset="0"/>
              <a:cs typeface="Kh Content" panose="02000500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85679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F0DC069-7A18-449E-9B5B-42D496ED299A}"/>
              </a:ext>
            </a:extLst>
          </p:cNvPr>
          <p:cNvSpPr txBox="1"/>
          <p:nvPr/>
        </p:nvSpPr>
        <p:spPr>
          <a:xfrm>
            <a:off x="311147" y="246221"/>
            <a:ext cx="11314323" cy="52322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fr-CA" sz="3000" dirty="0" err="1">
                <a:latin typeface="Kh Content" panose="02000500000000020004" pitchFamily="2" charset="0"/>
                <a:cs typeface="Kh Content" panose="02000500000000020004" pitchFamily="2" charset="0"/>
              </a:rPr>
              <a:t>តើខ្ញុំអាចកើតជំងឺ</a:t>
            </a:r>
            <a:r>
              <a:rPr lang="fr-CA" sz="3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3400" dirty="0">
                <a:latin typeface="Calibri" panose="020F0502020204030204" pitchFamily="34" charset="0"/>
                <a:cs typeface="Calibri" panose="020F0502020204030204" pitchFamily="34" charset="0"/>
              </a:rPr>
              <a:t>COVID-19 </a:t>
            </a:r>
            <a:r>
              <a:rPr lang="fr-CA" sz="3000" dirty="0" err="1">
                <a:latin typeface="Kh Content" panose="02000500000000020004" pitchFamily="2" charset="0"/>
                <a:cs typeface="Kh Content" panose="02000500000000020004" pitchFamily="2" charset="0"/>
              </a:rPr>
              <a:t>ពី</a:t>
            </a:r>
            <a:r>
              <a:rPr lang="fr-CA" sz="3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32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៉ា</a:t>
            </a:r>
            <a:r>
              <a:rPr lang="fr-CA" sz="30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់សាំង</a:t>
            </a:r>
            <a:r>
              <a:rPr lang="fr-CA" sz="3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3400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3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3000" dirty="0" err="1">
                <a:latin typeface="Kh Content" panose="02000500000000020004" pitchFamily="2" charset="0"/>
                <a:cs typeface="Kh Content" panose="02000500000000020004" pitchFamily="2" charset="0"/>
              </a:rPr>
              <a:t>ឬទេ</a:t>
            </a:r>
            <a:r>
              <a:rPr lang="fr-CA" sz="3000" dirty="0">
                <a:latin typeface="Kh Content" panose="02000500000000020004" pitchFamily="2" charset="0"/>
                <a:cs typeface="Kh Content" panose="02000500000000020004" pitchFamily="2" charset="0"/>
              </a:rPr>
              <a:t>?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5C5A823-101A-4EFF-BD93-CBB21EC8DD44}"/>
              </a:ext>
            </a:extLst>
          </p:cNvPr>
          <p:cNvSpPr/>
          <p:nvPr/>
        </p:nvSpPr>
        <p:spPr>
          <a:xfrm>
            <a:off x="478572" y="1306392"/>
            <a:ext cx="11227876" cy="9130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3200"/>
              </a:lnSpc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ទេ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៉ាក់សាំងពុំមានវីរុសរស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ែលបណ្ដាលឲ្យកើត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ទេ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េះមានសេចក្ដីថា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្នកមិនអាចកើត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ពីវ៉ាក់សាំងឡើយ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</a:p>
        </p:txBody>
      </p:sp>
      <p:pic>
        <p:nvPicPr>
          <p:cNvPr id="7" name="Google Shape;296;p78" descr="Five people of different ages waiting in lines to be vaccinated by a person in a medical coat.">
            <a:extLst>
              <a:ext uri="{FF2B5EF4-FFF2-40B4-BE49-F238E27FC236}">
                <a16:creationId xmlns:a16="http://schemas.microsoft.com/office/drawing/2014/main" id="{2F055C2B-AB1B-46EA-87CC-9EC61E3654F7}"/>
              </a:ext>
            </a:extLst>
          </p:cNvPr>
          <p:cNvPicPr preferRelativeResize="0"/>
          <p:nvPr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44186" y="2312127"/>
            <a:ext cx="8361755" cy="418037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883475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C196E34-67BE-44FC-8877-1C87128A9C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9D0EE-DE7F-324B-A84C-F36708423CDB}" type="slidenum">
              <a:rPr lang="en-US" sz="1000" smtClean="0">
                <a:solidFill>
                  <a:srgbClr val="464646">
                    <a:lumMod val="40000"/>
                    <a:lumOff val="6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13</a:t>
            </a:fld>
            <a:endParaRPr lang="en-US" sz="1000">
              <a:solidFill>
                <a:srgbClr val="464646">
                  <a:lumMod val="40000"/>
                  <a:lumOff val="60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738515A-DC24-4FF1-85F9-68F50ED8147F}"/>
              </a:ext>
            </a:extLst>
          </p:cNvPr>
          <p:cNvSpPr txBox="1"/>
          <p:nvPr/>
        </p:nvSpPr>
        <p:spPr>
          <a:xfrm>
            <a:off x="178625" y="234238"/>
            <a:ext cx="11314323" cy="52322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fr-CA" sz="3000">
                <a:latin typeface="Kh Content" panose="02000500000000020004" pitchFamily="2" charset="0"/>
                <a:cs typeface="Kh Content" panose="02000500000000020004" pitchFamily="2" charset="0"/>
              </a:rPr>
              <a:t>តើវ៉ាក់សាំង </a:t>
            </a:r>
            <a:r>
              <a:rPr lang="fr-CA" sz="340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3000">
                <a:latin typeface="Kh Content" panose="02000500000000020004" pitchFamily="2" charset="0"/>
                <a:cs typeface="Kh Content" panose="02000500000000020004" pitchFamily="2" charset="0"/>
              </a:rPr>
              <a:t> មានឥទ្ធិពលរាយរងឬទេ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069143-FE01-453C-934A-DAA4862AED31}"/>
              </a:ext>
            </a:extLst>
          </p:cNvPr>
          <p:cNvSpPr/>
          <p:nvPr/>
        </p:nvSpPr>
        <p:spPr>
          <a:xfrm>
            <a:off x="478571" y="1161565"/>
            <a:ext cx="11167329" cy="5324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ts val="3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ឥទ្ធិពលរាយរងធ្ងន់ធ្ងរ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កពីវ៉ាក់សាំង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រួមទាំងវ៉ាក់សាំង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គឺកម្រមាន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</a:p>
          <a:p>
            <a:pPr marL="342900" indent="-342900">
              <a:lnSpc>
                <a:spcPts val="3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ាអាចមាន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ថាមនុស្សអាចនឹងមានឥទ្ធិពលរាយរង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ែលជាសញ្ញាធម្មតា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ែល</a:t>
            </a:r>
            <a:r>
              <a:rPr lang="km-KH" sz="2100" dirty="0">
                <a:latin typeface="Kh Content" panose="02000500000000020004" pitchFamily="2" charset="0"/>
                <a:cs typeface="Kh Content" panose="02000500000000020004" pitchFamily="2" charset="0"/>
              </a:rPr>
              <a:t>ខ្លួន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របស់អ្នកកំពុងតែបង្កើត</a:t>
            </a:r>
            <a:r>
              <a:rPr lang="km-KH" sz="2100" dirty="0">
                <a:latin typeface="Kh Content" panose="02000500000000020004" pitchFamily="2" charset="0"/>
                <a:cs typeface="Kh Content" panose="02000500000000020004" pitchFamily="2" charset="0"/>
              </a:rPr>
              <a:t>ការការ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ពារ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</a:p>
          <a:p>
            <a:pPr marL="342900" indent="-342900">
              <a:lnSpc>
                <a:spcPts val="3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ឥទ្ធិពលរាយរងទាំងនេះ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ាចនឹងប៉ះពាល់សមត្ថភាពរបស់អ្នក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ើម្បីធ្វើសកម្មភាពរាល់ថ្ងៃ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៉ុន្ដែវាបាត់ទៅ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           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្នុងពីរបីថ្ងៃ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</a:p>
          <a:p>
            <a:pPr marL="342900" indent="-342900">
              <a:lnSpc>
                <a:spcPts val="3000"/>
              </a:lnSpc>
              <a:buFont typeface="Arial" panose="020B0604020202020204" pitchFamily="34" charset="0"/>
              <a:buChar char="•"/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ឥទ្ធិពលរាយរងទូទៅបំផុត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គឺតូចតាច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រួមមាន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៖</a:t>
            </a:r>
          </a:p>
          <a:p>
            <a:pPr marL="1200150" lvl="2" indent="-285750">
              <a:lnSpc>
                <a:spcPts val="3000"/>
              </a:lnSpc>
              <a:buFont typeface="Courier New" panose="02070309020205020404" pitchFamily="49" charset="0"/>
              <a:buChar char="o"/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ស់ក</a:t>
            </a:r>
            <a:r>
              <a:rPr lang="km-KH" sz="2100" dirty="0">
                <a:latin typeface="Kh Content" panose="02000500000000020004" pitchFamily="2" charset="0"/>
                <a:cs typeface="Kh Content" panose="02000500000000020004" pitchFamily="2" charset="0"/>
              </a:rPr>
              <a:t>ម្លាំង</a:t>
            </a:r>
            <a:endParaRPr lang="fr-CA" sz="21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marL="1200150" lvl="2" indent="-285750">
              <a:lnSpc>
                <a:spcPts val="3000"/>
              </a:lnSpc>
              <a:buFont typeface="Courier New" panose="02070309020205020404" pitchFamily="49" charset="0"/>
              <a:buChar char="o"/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ឈឺក្បាល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</a:p>
          <a:p>
            <a:pPr marL="1200150" lvl="2" indent="-285750">
              <a:lnSpc>
                <a:spcPts val="3000"/>
              </a:lnSpc>
              <a:buFont typeface="Courier New" panose="02070309020205020404" pitchFamily="49" charset="0"/>
              <a:buChar char="o"/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ឈឺនៅកន្លែងចាក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់</a:t>
            </a:r>
          </a:p>
          <a:p>
            <a:pPr marL="1200150" lvl="2" indent="-285750">
              <a:lnSpc>
                <a:spcPts val="3000"/>
              </a:lnSpc>
              <a:buFont typeface="Courier New" panose="02070309020205020404" pitchFamily="49" charset="0"/>
              <a:buChar char="o"/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ឈឺសាច់ដុំ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/ឬ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ន្លាក់ឆ្អឹង</a:t>
            </a:r>
            <a:endParaRPr lang="fr-CA" sz="21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marL="1200150" lvl="2" indent="-285750">
              <a:lnSpc>
                <a:spcPts val="3000"/>
              </a:lnSpc>
              <a:buFont typeface="Courier New" panose="02070309020205020404" pitchFamily="49" charset="0"/>
              <a:buChar char="o"/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្រៀវស្រាញ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</a:p>
          <a:p>
            <a:pPr marL="1200150" lvl="2" indent="-285750">
              <a:lnSpc>
                <a:spcPts val="3000"/>
              </a:lnSpc>
              <a:buFont typeface="Courier New" panose="02070309020205020404" pitchFamily="49" charset="0"/>
              <a:buChar char="o"/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រមូលពោះ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/ឬ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្អួតចង្អោរ</a:t>
            </a:r>
            <a:endParaRPr lang="fr-CA" sz="21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marL="1200150" lvl="2" indent="-285750">
              <a:lnSpc>
                <a:spcPts val="3000"/>
              </a:lnSpc>
              <a:buFont typeface="Courier New" panose="02070309020205020404" pitchFamily="49" charset="0"/>
              <a:buChar char="o"/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គ្រុន</a:t>
            </a:r>
            <a:endParaRPr lang="fr-CA" sz="2100" dirty="0">
              <a:latin typeface="Kh Content" panose="02000500000000020004" pitchFamily="2" charset="0"/>
              <a:cs typeface="Kh Content" panose="02000500000000020004" pitchFamily="2" charset="0"/>
            </a:endParaRPr>
          </a:p>
        </p:txBody>
      </p:sp>
      <p:pic>
        <p:nvPicPr>
          <p:cNvPr id="5" name="Google Shape;741;p82" descr="This image is of five people wearing masks.">
            <a:extLst>
              <a:ext uri="{FF2B5EF4-FFF2-40B4-BE49-F238E27FC236}">
                <a16:creationId xmlns:a16="http://schemas.microsoft.com/office/drawing/2014/main" id="{8283A815-E6C2-49D6-BF93-3B2BF2832DC3}"/>
              </a:ext>
            </a:extLst>
          </p:cNvPr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29599" y="3390551"/>
            <a:ext cx="3263349" cy="289549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F087B7E-59EE-4240-9588-33516A0F8436}"/>
              </a:ext>
            </a:extLst>
          </p:cNvPr>
          <p:cNvSpPr/>
          <p:nvPr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CA">
                <a:solidFill>
                  <a:srgbClr val="000000"/>
                </a:solidFill>
                <a:latin typeface="Kh Content" panose="02020603050405020304" pitchFamily="18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5068735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738515A-DC24-4FF1-85F9-68F50ED8147F}"/>
              </a:ext>
            </a:extLst>
          </p:cNvPr>
          <p:cNvSpPr txBox="1"/>
          <p:nvPr/>
        </p:nvSpPr>
        <p:spPr>
          <a:xfrm>
            <a:off x="0" y="181467"/>
            <a:ext cx="12013375" cy="52322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fr-CA" sz="3000">
                <a:latin typeface="Kh Content" panose="02000500000000020004" pitchFamily="2" charset="0"/>
                <a:cs typeface="Kh Content" panose="02000500000000020004" pitchFamily="2" charset="0"/>
              </a:rPr>
              <a:t>តើវ៉ាក់សាំង </a:t>
            </a:r>
            <a:r>
              <a:rPr lang="fr-CA" sz="3400">
                <a:latin typeface="Calibri" panose="020F0502020204030204" pitchFamily="34" charset="0"/>
                <a:cs typeface="Calibri" panose="020F0502020204030204" pitchFamily="34" charset="0"/>
              </a:rPr>
              <a:t>Pfizer</a:t>
            </a:r>
            <a:r>
              <a:rPr lang="fr-CA" sz="3000">
                <a:latin typeface="Kh Content" panose="02000500000000020004" pitchFamily="2" charset="0"/>
                <a:cs typeface="Kh Content" panose="02000500000000020004" pitchFamily="2" charset="0"/>
              </a:rPr>
              <a:t> បានធ្វើតេស្ដលើអ្នកណា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069143-FE01-453C-934A-DAA4862AED31}"/>
              </a:ext>
            </a:extLst>
          </p:cNvPr>
          <p:cNvSpPr/>
          <p:nvPr/>
        </p:nvSpPr>
        <p:spPr>
          <a:xfrm>
            <a:off x="478572" y="946098"/>
            <a:ext cx="11356939" cy="27802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3800"/>
              </a:lnSpc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ុវត្ថិភាពនៃវ៉ាក់សាំង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400" b="1" dirty="0">
                <a:latin typeface="Calibri" panose="020F0502020204030204" pitchFamily="34" charset="0"/>
                <a:cs typeface="Calibri" panose="020F0502020204030204" pitchFamily="34" charset="0"/>
              </a:rPr>
              <a:t>Pfizer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ានវាយតម្លៃក្នុងមនុស្ស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43,448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ាក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ាយុ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16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ឆ្នាំ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ចាស់ជាង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្នុងការសិក្សាវេជ្ជសាស្រ្ដ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ានធ្វើនៅក្នុងសហរដ្ឋ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,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ឺរ៉ុប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,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ទ័រហ្គី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,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ាហ្រ្វិកខាងត្បូង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,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អាមេរិកខាងត្បូង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endParaRPr lang="km-KH" sz="21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>
              <a:lnSpc>
                <a:spcPts val="3800"/>
              </a:lnSpc>
            </a:pPr>
            <a:r>
              <a:rPr lang="km-KH" sz="2100" dirty="0">
                <a:latin typeface="Kh Content" panose="02000500000000020004" pitchFamily="2" charset="0"/>
                <a:cs typeface="Kh Content" panose="02000500000000020004" pitchFamily="2" charset="0"/>
              </a:rPr>
              <a:t>ការសិក្សា​បន្ថែម​ត្រូវបានធ្វើឡើង​ជាមួយ​នឹង​ក្មេង​ជំទង់​ </a:t>
            </a:r>
            <a:r>
              <a:rPr lang="en-US" sz="2100" dirty="0">
                <a:latin typeface="Kh Content" panose="02000500000000020004" pitchFamily="2" charset="0"/>
                <a:cs typeface="Kh Content" panose="02000500000000020004" pitchFamily="2" charset="0"/>
              </a:rPr>
              <a:t>2,260</a:t>
            </a:r>
            <a:r>
              <a:rPr lang="km-KH" sz="2100" dirty="0">
                <a:latin typeface="Kh Content" panose="02000500000000020004" pitchFamily="2" charset="0"/>
                <a:cs typeface="Kh Content" panose="02000500000000020004" pitchFamily="2" charset="0"/>
              </a:rPr>
              <a:t>នាក់​ អាយុ​ 12-15ឆ្នាំ និង​កុមារ 3,000នាក់​ អាយុ 15-11ឆ្នាំ។</a:t>
            </a:r>
            <a:endParaRPr lang="fr-CA" sz="21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580EDB5-F8CE-40E3-B3DB-34A41D4BFC91}"/>
              </a:ext>
            </a:extLst>
          </p:cNvPr>
          <p:cNvSpPr txBox="1"/>
          <p:nvPr/>
        </p:nvSpPr>
        <p:spPr>
          <a:xfrm>
            <a:off x="478572" y="4996760"/>
            <a:ext cx="9314786" cy="914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A4D9B13-D057-4920-BD14-690DD0111190}"/>
              </a:ext>
            </a:extLst>
          </p:cNvPr>
          <p:cNvSpPr txBox="1"/>
          <p:nvPr/>
        </p:nvSpPr>
        <p:spPr>
          <a:xfrm>
            <a:off x="544744" y="4996760"/>
            <a:ext cx="11527986" cy="144216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lvl="0"/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984C9983-58B6-4FA8-833D-38EB9F2B58F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41987581"/>
              </p:ext>
            </p:extLst>
          </p:nvPr>
        </p:nvGraphicFramePr>
        <p:xfrm>
          <a:off x="7980531" y="2923452"/>
          <a:ext cx="5516880" cy="2987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7" name="Picture 8">
            <a:extLst>
              <a:ext uri="{FF2B5EF4-FFF2-40B4-BE49-F238E27FC236}">
                <a16:creationId xmlns:a16="http://schemas.microsoft.com/office/drawing/2014/main" id="{3B874F3C-EE66-4A2C-BC5F-76B057F2C3F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4745" y="2918253"/>
            <a:ext cx="7834818" cy="3511301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6602245" y="3933581"/>
            <a:ext cx="1205802" cy="23111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2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្រជាជន</a:t>
            </a:r>
            <a:r>
              <a:rPr lang="en-US" sz="1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MA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6602263" y="3397546"/>
            <a:ext cx="1426866" cy="15934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2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្នកចូលរួមសិក្សា</a:t>
            </a:r>
            <a:endParaRPr lang="en-US" sz="1200" dirty="0">
              <a:latin typeface="Kh Content" panose="02000500000000020004" pitchFamily="2" charset="0"/>
              <a:cs typeface="Kh Content" panose="02000500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73461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F069143-FE01-453C-934A-DAA4862AED31}"/>
              </a:ext>
            </a:extLst>
          </p:cNvPr>
          <p:cNvSpPr/>
          <p:nvPr/>
        </p:nvSpPr>
        <p:spPr>
          <a:xfrm>
            <a:off x="356489" y="1201320"/>
            <a:ext cx="11356939" cy="10669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3800"/>
              </a:lnSpc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ុវត្ថិភាពនៃវ៉ាក់សាំង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400" b="1" dirty="0" err="1">
                <a:latin typeface="Calibri" panose="020F0502020204030204" pitchFamily="34" charset="0"/>
                <a:cs typeface="Calibri" panose="020F0502020204030204" pitchFamily="34" charset="0"/>
              </a:rPr>
              <a:t>Moderna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ានវាយតម្លៃក្នុងមនុស្ស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30,351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ាក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ាយុ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18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​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ឆ្នាំ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ចាស់ជាង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ៅក្នុងសហរដ្ឋ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។ 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580EDB5-F8CE-40E3-B3DB-34A41D4BFC91}"/>
              </a:ext>
            </a:extLst>
          </p:cNvPr>
          <p:cNvSpPr txBox="1"/>
          <p:nvPr/>
        </p:nvSpPr>
        <p:spPr>
          <a:xfrm>
            <a:off x="478572" y="4996760"/>
            <a:ext cx="9314786" cy="914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A4D9B13-D057-4920-BD14-690DD0111190}"/>
              </a:ext>
            </a:extLst>
          </p:cNvPr>
          <p:cNvSpPr txBox="1"/>
          <p:nvPr/>
        </p:nvSpPr>
        <p:spPr>
          <a:xfrm>
            <a:off x="544744" y="4996760"/>
            <a:ext cx="11527986" cy="144216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lvl="0"/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80EDB754-326E-417D-AE8D-8C2A7160605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98504946"/>
              </p:ext>
            </p:extLst>
          </p:nvPr>
        </p:nvGraphicFramePr>
        <p:xfrm>
          <a:off x="8699390" y="2393248"/>
          <a:ext cx="3492610" cy="3427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FCD175AF-47FA-464F-B9BA-B943F2F9BFEB}"/>
              </a:ext>
            </a:extLst>
          </p:cNvPr>
          <p:cNvSpPr txBox="1"/>
          <p:nvPr/>
        </p:nvSpPr>
        <p:spPr>
          <a:xfrm>
            <a:off x="0" y="181467"/>
            <a:ext cx="12013375" cy="52322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fr-CA" sz="3000">
                <a:latin typeface="Kh Content" panose="02000500000000020004" pitchFamily="2" charset="0"/>
                <a:cs typeface="Kh Content" panose="02000500000000020004" pitchFamily="2" charset="0"/>
              </a:rPr>
              <a:t>តើវ៉ាក់សាំង </a:t>
            </a:r>
            <a:r>
              <a:rPr lang="fr-CA" sz="3400">
                <a:latin typeface="Calibri" panose="020F0502020204030204" pitchFamily="34" charset="0"/>
                <a:cs typeface="Calibri" panose="020F0502020204030204" pitchFamily="34" charset="0"/>
              </a:rPr>
              <a:t>Moderna </a:t>
            </a:r>
            <a:r>
              <a:rPr lang="fr-CA" sz="3000">
                <a:latin typeface="Kh Content" panose="02000500000000020004" pitchFamily="2" charset="0"/>
                <a:cs typeface="Kh Content" panose="02000500000000020004" pitchFamily="2" charset="0"/>
              </a:rPr>
              <a:t>បានធ្វើតេស្ដលើអ្នកណា?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24FD55F4-BEEF-4EB6-B497-82F1F061156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7671" y="2253312"/>
            <a:ext cx="8748792" cy="3893312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6822831" y="2773346"/>
            <a:ext cx="1527349" cy="17082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>
                <a:latin typeface="Kh Content" panose="02000500000000020004" pitchFamily="2" charset="0"/>
                <a:cs typeface="Kh Content" panose="02000500000000020004" pitchFamily="2" charset="0"/>
              </a:rPr>
              <a:t>អ្នកចូលរួមសិក្សា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822831" y="3406391"/>
            <a:ext cx="1446962" cy="22106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>
                <a:latin typeface="Kh Content" panose="02000500000000020004" pitchFamily="2" charset="0"/>
                <a:cs typeface="Kh Content" panose="02000500000000020004" pitchFamily="2" charset="0"/>
              </a:rPr>
              <a:t>ប្រជាជន</a:t>
            </a:r>
            <a:r>
              <a:rPr lang="en-US" sz="160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MA</a:t>
            </a:r>
          </a:p>
        </p:txBody>
      </p:sp>
    </p:spTree>
    <p:extLst>
      <p:ext uri="{BB962C8B-B14F-4D97-AF65-F5344CB8AC3E}">
        <p14:creationId xmlns:p14="http://schemas.microsoft.com/office/powerpoint/2010/main" val="324524203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F069143-FE01-453C-934A-DAA4862AED31}"/>
              </a:ext>
            </a:extLst>
          </p:cNvPr>
          <p:cNvSpPr/>
          <p:nvPr/>
        </p:nvSpPr>
        <p:spPr>
          <a:xfrm>
            <a:off x="356489" y="1201320"/>
            <a:ext cx="11356939" cy="14003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3400"/>
              </a:lnSpc>
            </a:pPr>
            <a:r>
              <a:rPr lang="fr-CA" sz="2100">
                <a:latin typeface="Kh Content" panose="02000500000000020004" pitchFamily="2" charset="0"/>
                <a:cs typeface="Kh Content" panose="02000500000000020004" pitchFamily="2" charset="0"/>
              </a:rPr>
              <a:t>សុវត្ថិភាពនៃវ៉ាក់សាំង </a:t>
            </a:r>
            <a:r>
              <a:rPr lang="fr-CA" sz="2400" b="1">
                <a:latin typeface="Calibri" panose="020F0502020204030204" pitchFamily="34" charset="0"/>
                <a:cs typeface="Calibri" panose="020F0502020204030204" pitchFamily="34" charset="0"/>
              </a:rPr>
              <a:t>Janssen (Johnson &amp; Johnson) </a:t>
            </a:r>
            <a:r>
              <a:rPr lang="fr-CA" sz="2100">
                <a:latin typeface="Kh Content" panose="02000500000000020004" pitchFamily="2" charset="0"/>
                <a:cs typeface="Kh Content" panose="02000500000000020004" pitchFamily="2" charset="0"/>
              </a:rPr>
              <a:t>បានវាយតម្លៃក្នុងមនុស្ស </a:t>
            </a:r>
            <a:r>
              <a:rPr lang="fr-CA" sz="2400">
                <a:latin typeface="Calibri" panose="020F0502020204030204" pitchFamily="34" charset="0"/>
                <a:cs typeface="Calibri" panose="020F0502020204030204" pitchFamily="34" charset="0"/>
              </a:rPr>
              <a:t>43,783</a:t>
            </a:r>
            <a:r>
              <a:rPr lang="fr-CA" sz="2100">
                <a:latin typeface="Kh Content" panose="02000500000000020004" pitchFamily="2" charset="0"/>
                <a:cs typeface="Kh Content" panose="02000500000000020004" pitchFamily="2" charset="0"/>
              </a:rPr>
              <a:t> នាក់ អាយុ </a:t>
            </a:r>
            <a:r>
              <a:rPr lang="fr-CA" sz="2400">
                <a:latin typeface="Calibri" panose="020F0502020204030204" pitchFamily="34" charset="0"/>
                <a:cs typeface="Calibri" panose="020F0502020204030204" pitchFamily="34" charset="0"/>
              </a:rPr>
              <a:t>18</a:t>
            </a:r>
            <a:r>
              <a:rPr lang="fr-CA" sz="2100">
                <a:latin typeface="Kh Content" panose="02000500000000020004" pitchFamily="2" charset="0"/>
                <a:cs typeface="Kh Content" panose="02000500000000020004" pitchFamily="2" charset="0"/>
              </a:rPr>
              <a:t> ឆ្នាំ និងចាស់ជាង នៅក្នុងសហរហដ្ឋ, ប្រាស៊ីល, អាហ្រ្វិកខាងត្បូង, កូឡុមប៊ា, អាហ្សង់ទីន, ប៉ឺរូ, ឈីឡេ, និង               ម៉ិចស៊ីកូ។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580EDB5-F8CE-40E3-B3DB-34A41D4BFC91}"/>
              </a:ext>
            </a:extLst>
          </p:cNvPr>
          <p:cNvSpPr txBox="1"/>
          <p:nvPr/>
        </p:nvSpPr>
        <p:spPr>
          <a:xfrm>
            <a:off x="478572" y="4996760"/>
            <a:ext cx="9314786" cy="914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A4D9B13-D057-4920-BD14-690DD0111190}"/>
              </a:ext>
            </a:extLst>
          </p:cNvPr>
          <p:cNvSpPr txBox="1"/>
          <p:nvPr/>
        </p:nvSpPr>
        <p:spPr>
          <a:xfrm>
            <a:off x="544744" y="4996760"/>
            <a:ext cx="11527986" cy="144216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lvl="0"/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D175AF-47FA-464F-B9BA-B943F2F9BFEB}"/>
              </a:ext>
            </a:extLst>
          </p:cNvPr>
          <p:cNvSpPr txBox="1"/>
          <p:nvPr/>
        </p:nvSpPr>
        <p:spPr>
          <a:xfrm>
            <a:off x="0" y="181467"/>
            <a:ext cx="12013375" cy="52322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fr-CA" sz="3000">
                <a:latin typeface="Kh Content" panose="02000500000000020004" pitchFamily="2" charset="0"/>
                <a:cs typeface="Kh Content" panose="02000500000000020004" pitchFamily="2" charset="0"/>
              </a:rPr>
              <a:t>តើវ៉ាក់សាំង </a:t>
            </a:r>
            <a:r>
              <a:rPr lang="fr-CA" sz="3400">
                <a:latin typeface="Calibri" panose="020F0502020204030204" pitchFamily="34" charset="0"/>
                <a:cs typeface="Calibri" panose="020F0502020204030204" pitchFamily="34" charset="0"/>
              </a:rPr>
              <a:t>Johnson &amp; Johnson</a:t>
            </a:r>
            <a:r>
              <a:rPr lang="fr-CA" sz="3000">
                <a:latin typeface="Kh Content" panose="02000500000000020004" pitchFamily="2" charset="0"/>
                <a:cs typeface="Kh Content" panose="02000500000000020004" pitchFamily="2" charset="0"/>
              </a:rPr>
              <a:t> បានធ្វើតេស្ដលើអ្នកណា?</a:t>
            </a:r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01A16C44-ED18-4850-8F70-3A08832222A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76534693"/>
              </p:ext>
            </p:extLst>
          </p:nvPr>
        </p:nvGraphicFramePr>
        <p:xfrm>
          <a:off x="8190411" y="2424447"/>
          <a:ext cx="4001589" cy="3084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2" name="Picture 2">
            <a:extLst>
              <a:ext uri="{FF2B5EF4-FFF2-40B4-BE49-F238E27FC236}">
                <a16:creationId xmlns:a16="http://schemas.microsoft.com/office/drawing/2014/main" id="{0FBF8B62-ACA1-409E-8B47-C43D0DE8266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045" y="2574800"/>
            <a:ext cx="8516317" cy="3778386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6812781" y="3079816"/>
            <a:ext cx="1498209" cy="19091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>
                <a:latin typeface="Kh Content" panose="02000500000000020004" pitchFamily="2" charset="0"/>
                <a:cs typeface="Kh Content" panose="02000500000000020004" pitchFamily="2" charset="0"/>
              </a:rPr>
              <a:t>អ្នកចូលរួមសិក្សា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812781" y="3627455"/>
            <a:ext cx="1155562" cy="25120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>
                <a:latin typeface="Kh Content" panose="02000500000000020004" pitchFamily="2" charset="0"/>
                <a:cs typeface="Kh Content" panose="02000500000000020004" pitchFamily="2" charset="0"/>
              </a:rPr>
              <a:t>ប្រជាជន </a:t>
            </a:r>
            <a:r>
              <a:rPr lang="en-US" sz="1400">
                <a:latin typeface="Calibri" panose="020F0502020204030204" pitchFamily="34" charset="0"/>
                <a:cs typeface="Calibri" panose="020F0502020204030204" pitchFamily="34" charset="0"/>
              </a:rPr>
              <a:t>MA</a:t>
            </a:r>
          </a:p>
        </p:txBody>
      </p:sp>
    </p:spTree>
    <p:extLst>
      <p:ext uri="{BB962C8B-B14F-4D97-AF65-F5344CB8AC3E}">
        <p14:creationId xmlns:p14="http://schemas.microsoft.com/office/powerpoint/2010/main" val="73977636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738515A-DC24-4FF1-85F9-68F50ED8147F}"/>
              </a:ext>
            </a:extLst>
          </p:cNvPr>
          <p:cNvSpPr txBox="1"/>
          <p:nvPr/>
        </p:nvSpPr>
        <p:spPr>
          <a:xfrm>
            <a:off x="152121" y="207736"/>
            <a:ext cx="12013375" cy="52322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fr-CA" sz="3000">
                <a:latin typeface="Kh Content" panose="02000500000000020004" pitchFamily="2" charset="0"/>
                <a:cs typeface="Kh Content" panose="02000500000000020004" pitchFamily="2" charset="0"/>
              </a:rPr>
              <a:t>តើអ្នកណាម្នាក់ ដែលមានអាល់ឡ័រជី គួរតែទទួលវ៉ាក់សាំង </a:t>
            </a:r>
            <a:r>
              <a:rPr lang="fr-CA" sz="340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3000">
                <a:latin typeface="Kh Content" panose="02000500000000020004" pitchFamily="2" charset="0"/>
                <a:cs typeface="Kh Content" panose="02000500000000020004" pitchFamily="2" charset="0"/>
              </a:rPr>
              <a:t> ឬទេ?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069143-FE01-453C-934A-DAA4862AED31}"/>
              </a:ext>
            </a:extLst>
          </p:cNvPr>
          <p:cNvSpPr/>
          <p:nvPr/>
        </p:nvSpPr>
        <p:spPr>
          <a:xfrm>
            <a:off x="478571" y="1360347"/>
            <a:ext cx="11356939" cy="515525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342900" indent="-342900">
              <a:lnSpc>
                <a:spcPts val="3500"/>
              </a:lnSpc>
              <a:buFont typeface="Arial" panose="020B0604020202020204" pitchFamily="34" charset="0"/>
              <a:buChar char="•"/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្នក</a:t>
            </a:r>
            <a:r>
              <a:rPr lang="fr-CA" sz="2100" b="1" dirty="0" err="1">
                <a:latin typeface="Kh Content" panose="02000500000000020004" pitchFamily="2" charset="0"/>
                <a:cs typeface="Kh Content" panose="02000500000000020004" pitchFamily="2" charset="0"/>
              </a:rPr>
              <a:t>មិន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គួរទទួលវ៉ាក់សាំង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ទេ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ើសិនអ្នកមានប្រវត្ដិ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ៃប្រតិកម្មអាល់ឡ័រជីធ្ងន់ធ្ងរ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(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៏ហៅថា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“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្រតិកម្មនឹងវត្ថុធាតុធ្ងន់ធ្ងរ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”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ែរ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)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ចំពោះគ្រឿងផ្សំអ្វីមួយ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ៅក្នុងវ៉ាក់សាំង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</a:p>
          <a:p>
            <a:pPr marL="342900" indent="-342900">
              <a:lnSpc>
                <a:spcPts val="32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lnSpc>
                <a:spcPts val="3200"/>
              </a:lnSpc>
              <a:buFont typeface="Arial" panose="020B0604020202020204" pitchFamily="34" charset="0"/>
              <a:buChar char="•"/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៉ាក់សាំងពុំមានស៊ុត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,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ចិឡាទិន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,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គ្រឿងរក្សាកុំឲ្យខូច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,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ឬកៅស៊ូ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ឡើយ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ញ្ជីគ្រឿងផ្សំ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ាចរកឃើញនៅ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៖</a:t>
            </a:r>
          </a:p>
          <a:p>
            <a:pPr marL="914400" lvl="1" indent="-342900">
              <a:lnSpc>
                <a:spcPts val="3200"/>
              </a:lnSpc>
              <a:buFont typeface="Courier New" panose="02070309020205020404" pitchFamily="49" charset="0"/>
              <a:buChar char="o"/>
            </a:pP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Pfizer/</a:t>
            </a:r>
            <a:r>
              <a:rPr lang="en-US" sz="2400" dirty="0" err="1"/>
              <a:t>Comirnaty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https://www.fda.gov/media/144414/download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(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ទំព័រ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)</a:t>
            </a:r>
          </a:p>
          <a:p>
            <a:pPr marL="914400" lvl="1" indent="-342900">
              <a:lnSpc>
                <a:spcPts val="3200"/>
              </a:lnSpc>
              <a:buFont typeface="Courier New" panose="02070309020205020404" pitchFamily="49" charset="0"/>
              <a:buChar char="o"/>
            </a:pPr>
            <a:r>
              <a:rPr lang="fr-CA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Moderna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  <a:hlinkClick r:id="rId4"/>
              </a:rPr>
              <a:t>https://www.fda.gov/media/144638/download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(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ទំព័រ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)</a:t>
            </a:r>
          </a:p>
          <a:p>
            <a:pPr marL="914400" lvl="1" indent="-342900">
              <a:lnSpc>
                <a:spcPts val="3200"/>
              </a:lnSpc>
              <a:buFont typeface="Courier New" panose="02070309020205020404" pitchFamily="49" charset="0"/>
              <a:buChar char="o"/>
            </a:pP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Janssen (Johnson &amp; Johnson): 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  <a:hlinkClick r:id="rId5"/>
              </a:rPr>
              <a:t>https://www.fda.gov/media/146305/download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     (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ទំព័រ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)</a:t>
            </a:r>
          </a:p>
          <a:p>
            <a:pPr marL="342900" indent="-342900">
              <a:lnSpc>
                <a:spcPts val="3200"/>
              </a:lnSpc>
              <a:buFont typeface="Arial" panose="020B0604020202020204" pitchFamily="34" charset="0"/>
              <a:buChar char="•"/>
            </a:pPr>
            <a:endParaRPr lang="en-US" sz="21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marL="342900" indent="-342900">
              <a:lnSpc>
                <a:spcPts val="3600"/>
              </a:lnSpc>
              <a:buFont typeface="Arial" panose="020B0604020202020204" pitchFamily="34" charset="0"/>
              <a:buChar char="•"/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ើសិនអ្នកមានប្រវត្ដិ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ៃប្រតិកម្មអាល់ឡ័រជីធ្ងន់ធ្ងរ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ចំពោះអ្វីផ្សេងទៀត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ែលមិននៅក្នុងវ៉ាក់សាំងទេ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(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ូចជា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   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ឺរសណ្ដែកដី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)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ូមពិភាក្សាជាមួយអ្នកផ្ដល់ការថែទាំសុខភាពរបស់អ្នក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ុននឹងទទួលវ៉ាក់សាំង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</a:p>
          <a:p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580EDB5-F8CE-40E3-B3DB-34A41D4BFC91}"/>
              </a:ext>
            </a:extLst>
          </p:cNvPr>
          <p:cNvSpPr txBox="1"/>
          <p:nvPr/>
        </p:nvSpPr>
        <p:spPr>
          <a:xfrm>
            <a:off x="478572" y="4996760"/>
            <a:ext cx="9314786" cy="914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A4D9B13-D057-4920-BD14-690DD0111190}"/>
              </a:ext>
            </a:extLst>
          </p:cNvPr>
          <p:cNvSpPr txBox="1"/>
          <p:nvPr/>
        </p:nvSpPr>
        <p:spPr>
          <a:xfrm>
            <a:off x="544744" y="4996760"/>
            <a:ext cx="11527986" cy="144216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lvl="0"/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63257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F0DC069-7A18-449E-9B5B-42D496ED299A}"/>
              </a:ext>
            </a:extLst>
          </p:cNvPr>
          <p:cNvSpPr txBox="1"/>
          <p:nvPr/>
        </p:nvSpPr>
        <p:spPr>
          <a:xfrm>
            <a:off x="311146" y="210362"/>
            <a:ext cx="11314323" cy="56425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>
              <a:lnSpc>
                <a:spcPts val="4400"/>
              </a:lnSpc>
            </a:pPr>
            <a:r>
              <a:rPr lang="fr-CA" sz="2400" dirty="0" err="1">
                <a:latin typeface="Kh Content" panose="02000500000000020004" pitchFamily="2" charset="0"/>
                <a:cs typeface="Kh Content" panose="02000500000000020004" pitchFamily="2" charset="0"/>
              </a:rPr>
              <a:t>ខ្ញុំចង់មានកូននៅថ្ងៃមួយ</a:t>
            </a:r>
            <a:r>
              <a:rPr lang="fr-CA" sz="24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r>
              <a:rPr lang="fr-CA" sz="2400" dirty="0" err="1">
                <a:latin typeface="Kh Content" panose="02000500000000020004" pitchFamily="2" charset="0"/>
                <a:cs typeface="Kh Content" panose="02000500000000020004" pitchFamily="2" charset="0"/>
              </a:rPr>
              <a:t>តើវាមានសុវត្ថិភាពសំរាប់ខ្ញុំ</a:t>
            </a:r>
            <a:r>
              <a:rPr lang="fr-CA" sz="24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4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ើម្បីទទួលវ៉ាក់សាំង</a:t>
            </a:r>
            <a:r>
              <a:rPr lang="fr-CA" sz="24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24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400" dirty="0" err="1">
                <a:latin typeface="Kh Content" panose="02000500000000020004" pitchFamily="2" charset="0"/>
                <a:cs typeface="Kh Content" panose="02000500000000020004" pitchFamily="2" charset="0"/>
              </a:rPr>
              <a:t>ឬទេ</a:t>
            </a:r>
            <a:r>
              <a:rPr lang="fr-CA" sz="2400" dirty="0">
                <a:latin typeface="Kh Content" panose="02000500000000020004" pitchFamily="2" charset="0"/>
                <a:cs typeface="Kh Content" panose="02000500000000020004" pitchFamily="2" charset="0"/>
              </a:rPr>
              <a:t>?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5C5A823-101A-4EFF-BD93-CBB21EC8DD44}"/>
              </a:ext>
            </a:extLst>
          </p:cNvPr>
          <p:cNvSpPr/>
          <p:nvPr/>
        </p:nvSpPr>
        <p:spPr>
          <a:xfrm>
            <a:off x="478572" y="1418500"/>
            <a:ext cx="11227876" cy="41319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3500"/>
              </a:lnSpc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ាន</a:t>
            </a:r>
            <a:r>
              <a:rPr lang="en-US" sz="2100" dirty="0">
                <a:latin typeface="Kh Content" panose="02000500000000020004" pitchFamily="2" charset="0"/>
                <a:cs typeface="Kh Content" panose="02000500000000020004" pitchFamily="2" charset="0"/>
              </a:rPr>
              <a:t>!</a:t>
            </a:r>
            <a:endParaRPr lang="fr-CA" sz="21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>
              <a:lnSpc>
                <a:spcPts val="3500"/>
              </a:lnSpc>
            </a:pPr>
            <a:endParaRPr lang="en-US" sz="2100" b="1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marL="285750" indent="-285750">
              <a:lnSpc>
                <a:spcPts val="3500"/>
              </a:lnSpc>
              <a:buFont typeface="Arial" panose="020B0604020202020204" pitchFamily="34" charset="0"/>
              <a:buChar char="•"/>
            </a:pP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CDC </a:t>
            </a:r>
            <a:r>
              <a:rPr lang="km-KH" sz="2100" dirty="0">
                <a:latin typeface="Kh Content" panose="02000500000000020004" pitchFamily="2" charset="0"/>
                <a:cs typeface="Kh Content" panose="02000500000000020004" pitchFamily="2" charset="0"/>
              </a:rPr>
              <a:t>ណែនាំឱ្យបុគ្គលដែលចង់មានផ្ទៃពោះនៅពេលឥឡូវនេះ ឬដែលអាចនឹងមានផ្ទៃពោះនាពេលអនាគតទទួលការចាក់វ៉ាក់សាំងការពារកូវីដ-19។</a:t>
            </a:r>
          </a:p>
          <a:p>
            <a:pPr marL="285750" indent="-285750">
              <a:lnSpc>
                <a:spcPts val="3500"/>
              </a:lnSpc>
              <a:buFont typeface="Arial" panose="020B0604020202020204" pitchFamily="34" charset="0"/>
              <a:buChar char="•"/>
            </a:pPr>
            <a:endParaRPr lang="en-US" sz="21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marL="285750" indent="-285750">
              <a:lnSpc>
                <a:spcPts val="3500"/>
              </a:lnSpc>
              <a:buFont typeface="Arial" panose="020B0604020202020204" pitchFamily="34" charset="0"/>
              <a:buChar char="•"/>
            </a:pPr>
            <a:r>
              <a:rPr lang="km-KH" sz="2100" dirty="0">
                <a:latin typeface="Kh Content" panose="02000500000000020004" pitchFamily="2" charset="0"/>
                <a:cs typeface="Kh Content" panose="02000500000000020004" pitchFamily="2" charset="0"/>
              </a:rPr>
              <a:t>មិនមានភ័ស្តុតាងបញ្ជាក់ទេថាអង្គបដិប្រាណដែលបង្កើតឡើងបន្ទាប់ពីការចាក់វ៉ាក់សាំងការពារកូវីដ-19 ឬថាធាតុផ្សំរបស់វ៉ាក់សាំងនឹងបង្កឱ្យមានបញ្ហាណាមួយនោះទេ។</a:t>
            </a:r>
          </a:p>
          <a:p>
            <a:pPr marL="285750" indent="-285750">
              <a:lnSpc>
                <a:spcPts val="3500"/>
              </a:lnSpc>
              <a:buFont typeface="Arial" panose="020B0604020202020204" pitchFamily="34" charset="0"/>
              <a:buChar char="•"/>
            </a:pPr>
            <a:endParaRPr lang="fr-CA" sz="21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marL="285750" indent="-285750">
              <a:lnSpc>
                <a:spcPts val="3500"/>
              </a:lnSpc>
              <a:buFont typeface="Arial" panose="020B0604020202020204" pitchFamily="34" charset="0"/>
              <a:buChar char="•"/>
            </a:pPr>
            <a:r>
              <a:rPr lang="km-KH" sz="2100" spc="-40" dirty="0">
                <a:latin typeface="Kh Content" panose="02000500000000020004" pitchFamily="2" charset="0"/>
                <a:cs typeface="Kh Content" panose="02000500000000020004" pitchFamily="2" charset="0"/>
              </a:rPr>
              <a:t>វាពុំមានភស្ដុតាងថាបញ្ហាភាពពុំអាចមានគភ៌ គឺជាឥទ្ធិពលរាយរងនៃវ៉ាក់សាំងអ្វីមួយចំពោះបុរស ឬស្ត្រី​ឡើ​យ​។​</a:t>
            </a:r>
            <a:endParaRPr lang="fr-CA" sz="2100" spc="-40" dirty="0">
              <a:latin typeface="Kh Content" panose="02000500000000020004" pitchFamily="2" charset="0"/>
              <a:cs typeface="Kh Content" panose="02000500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724378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738515A-DC24-4FF1-85F9-68F50ED8147F}"/>
              </a:ext>
            </a:extLst>
          </p:cNvPr>
          <p:cNvSpPr txBox="1"/>
          <p:nvPr/>
        </p:nvSpPr>
        <p:spPr>
          <a:xfrm>
            <a:off x="152120" y="230832"/>
            <a:ext cx="12013375" cy="52322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fr-CA" sz="3000" dirty="0" err="1">
                <a:latin typeface="Kh Content" panose="02000500000000020004" pitchFamily="2" charset="0"/>
                <a:cs typeface="Kh Content" panose="02000500000000020004" pitchFamily="2" charset="0"/>
              </a:rPr>
              <a:t>តើអ្នកណាម្នាក់ដែលមានគភ</a:t>
            </a:r>
            <a:r>
              <a:rPr lang="fr-CA" sz="3000" dirty="0">
                <a:latin typeface="Kh Content" panose="02000500000000020004" pitchFamily="2" charset="0"/>
                <a:cs typeface="Kh Content" panose="02000500000000020004" pitchFamily="2" charset="0"/>
              </a:rPr>
              <a:t>៌ </a:t>
            </a:r>
            <a:r>
              <a:rPr lang="fr-CA" sz="3000" dirty="0" err="1">
                <a:latin typeface="Kh Content" panose="02000500000000020004" pitchFamily="2" charset="0"/>
                <a:cs typeface="Kh Content" panose="02000500000000020004" pitchFamily="2" charset="0"/>
              </a:rPr>
              <a:t>ឬបំបៅដោះ</a:t>
            </a:r>
            <a:r>
              <a:rPr lang="fr-CA" sz="3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km-KH" sz="3000" dirty="0">
                <a:latin typeface="Kh Content" panose="02000500000000020004" pitchFamily="2" charset="0"/>
                <a:cs typeface="Kh Content" panose="02000500000000020004" pitchFamily="2" charset="0"/>
              </a:rPr>
              <a:t>អាច</a:t>
            </a:r>
            <a:r>
              <a:rPr lang="fr-CA" sz="3000" dirty="0" err="1">
                <a:latin typeface="Kh Content" panose="02000500000000020004" pitchFamily="2" charset="0"/>
                <a:cs typeface="Kh Content" panose="02000500000000020004" pitchFamily="2" charset="0"/>
              </a:rPr>
              <a:t>ទទួលវ៉ាក់សាំង</a:t>
            </a:r>
            <a:r>
              <a:rPr lang="fr-CA" sz="3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3400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3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3000" dirty="0" err="1">
                <a:latin typeface="Kh Content" panose="02000500000000020004" pitchFamily="2" charset="0"/>
                <a:cs typeface="Kh Content" panose="02000500000000020004" pitchFamily="2" charset="0"/>
              </a:rPr>
              <a:t>ឬទេ</a:t>
            </a:r>
            <a:r>
              <a:rPr lang="fr-CA" sz="3000" dirty="0">
                <a:latin typeface="Kh Content" panose="02000500000000020004" pitchFamily="2" charset="0"/>
                <a:cs typeface="Kh Content" panose="02000500000000020004" pitchFamily="2" charset="0"/>
              </a:rPr>
              <a:t>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069143-FE01-453C-934A-DAA4862AED31}"/>
              </a:ext>
            </a:extLst>
          </p:cNvPr>
          <p:cNvSpPr/>
          <p:nvPr/>
        </p:nvSpPr>
        <p:spPr>
          <a:xfrm>
            <a:off x="478571" y="1258748"/>
            <a:ext cx="11887094" cy="5027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3200"/>
              </a:lnSpc>
            </a:pP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580EDB5-F8CE-40E3-B3DB-34A41D4BFC91}"/>
              </a:ext>
            </a:extLst>
          </p:cNvPr>
          <p:cNvSpPr txBox="1"/>
          <p:nvPr/>
        </p:nvSpPr>
        <p:spPr>
          <a:xfrm>
            <a:off x="478572" y="4996760"/>
            <a:ext cx="9314786" cy="914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A4D9B13-D057-4920-BD14-690DD0111190}"/>
              </a:ext>
            </a:extLst>
          </p:cNvPr>
          <p:cNvSpPr txBox="1"/>
          <p:nvPr/>
        </p:nvSpPr>
        <p:spPr>
          <a:xfrm>
            <a:off x="544744" y="4996760"/>
            <a:ext cx="11527986" cy="144216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lvl="0"/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167E0740-C5AA-486B-B9D4-C3E2D5500E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0286" y="1087936"/>
            <a:ext cx="11596808" cy="4865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km-KH" altLang="en-US" sz="2400" dirty="0">
                <a:latin typeface="+mj-lt"/>
                <a:ea typeface="Arial" panose="020B0604020202020204" pitchFamily="34" charset="0"/>
              </a:rPr>
              <a:t>អាច</a:t>
            </a:r>
            <a:r>
              <a:rPr lang="en-US" altLang="en-US" sz="2400" dirty="0">
                <a:latin typeface="+mj-lt"/>
                <a:ea typeface="Arial" panose="020B0604020202020204" pitchFamily="34" charset="0"/>
              </a:rPr>
              <a:t>!</a:t>
            </a:r>
            <a:endParaRPr kumimoji="0" lang="en-US" altLang="en-US" sz="400" i="0" strike="noStrike" cap="none" normalizeH="0" baseline="0" dirty="0">
              <a:ln>
                <a:noFill/>
              </a:ln>
              <a:effectLst/>
              <a:latin typeface="+mj-lt"/>
            </a:endParaRPr>
          </a:p>
          <a:p>
            <a:pPr marL="0" marR="0" lvl="0" indent="0" algn="l" defTabSz="914400" rtl="0" eaLnBrk="0" fontAlgn="base" latinLnBrk="0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Arial" panose="020B0604020202020204" pitchFamily="34" charset="0"/>
              </a:rPr>
              <a:t>• </a:t>
            </a:r>
            <a:r>
              <a:rPr kumimoji="0" lang="en-US" altLang="en-US" sz="2400" i="0" strike="noStrike" cap="none" normalizeH="0" baseline="0" dirty="0">
                <a:ln>
                  <a:noFill/>
                </a:ln>
                <a:effectLst/>
                <a:latin typeface="+mj-lt"/>
                <a:ea typeface="Calibri" panose="020F0502020204030204" pitchFamily="34" charset="0"/>
              </a:rPr>
              <a:t>CDC </a:t>
            </a:r>
            <a:r>
              <a:rPr kumimoji="0" lang="km-KH" altLang="en-US" sz="2400" i="0" strike="noStrike" cap="none" normalizeH="0" baseline="0" dirty="0">
                <a:ln>
                  <a:noFill/>
                </a:ln>
                <a:effectLst/>
                <a:latin typeface="+mj-lt"/>
                <a:ea typeface="Calibri" panose="020F0502020204030204" pitchFamily="34" charset="0"/>
              </a:rPr>
              <a:t>និងមហាវិទ្យាល័យគ្រូពេទ្យជំនាញខាងសម្រាលទារកនិងរោគស្ត្រីរបស់អាមេរិចណែនាំឱ្យចាក់វ៉ាក់សាំង </a:t>
            </a:r>
            <a:r>
              <a:rPr kumimoji="0" lang="en-US" altLang="en-US" sz="2400" i="0" strike="noStrike" cap="none" normalizeH="0" baseline="0" dirty="0">
                <a:ln>
                  <a:noFill/>
                </a:ln>
                <a:effectLst/>
                <a:latin typeface="+mj-lt"/>
                <a:ea typeface="Calibri" panose="020F0502020204030204" pitchFamily="34" charset="0"/>
              </a:rPr>
              <a:t>COVID-19 </a:t>
            </a:r>
            <a:r>
              <a:rPr kumimoji="0" lang="km-KH" altLang="en-US" sz="2400" i="0" strike="noStrike" cap="none" normalizeH="0" baseline="0" dirty="0">
                <a:ln>
                  <a:noFill/>
                </a:ln>
                <a:effectLst/>
                <a:latin typeface="+mj-lt"/>
                <a:ea typeface="Calibri" panose="020F0502020204030204" pitchFamily="34" charset="0"/>
              </a:rPr>
              <a:t>ដល់អ្នកមានផ្ទៃពោះនិងអ្នកបំបៅដោះ។</a:t>
            </a:r>
          </a:p>
          <a:p>
            <a:pPr marL="0" marR="0" lvl="0" indent="0" algn="l" defTabSz="914400" rtl="0" eaLnBrk="0" fontAlgn="base" latinLnBrk="0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i="0" strike="noStrike" cap="none" normalizeH="0" baseline="0" dirty="0">
                <a:ln>
                  <a:noFill/>
                </a:ln>
                <a:effectLst/>
                <a:latin typeface="+mj-lt"/>
                <a:ea typeface="Arial" panose="020B0604020202020204" pitchFamily="34" charset="0"/>
              </a:rPr>
              <a:t>• </a:t>
            </a:r>
            <a:r>
              <a:rPr kumimoji="0" lang="km-KH" altLang="en-US" sz="2400" i="0" strike="noStrike" cap="none" normalizeH="0" baseline="0" dirty="0">
                <a:ln>
                  <a:noFill/>
                </a:ln>
                <a:effectLst/>
                <a:latin typeface="+mj-lt"/>
                <a:ea typeface="Calibri" panose="020F0502020204030204" pitchFamily="34" charset="0"/>
              </a:rPr>
              <a:t>អត្ថប្រយោជន៍នៃការទទួលវ៉ាក់សាំងការពារកូវីដ-19 លើសពីហានិភ័យដែលបានដឹង ឬអាចកើតមានដែលបណ្ដាលមកពីការចាក់វ៉ាក់សាំងអំឡុងពេលមានផ្ទៃពោះ។</a:t>
            </a:r>
            <a:endParaRPr kumimoji="0" lang="en-US" altLang="en-US" sz="2400" i="0" strike="noStrike" cap="none" normalizeH="0" baseline="0" dirty="0">
              <a:ln>
                <a:noFill/>
              </a:ln>
              <a:effectLst/>
              <a:latin typeface="+mj-lt"/>
              <a:ea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i="0" strike="noStrike" cap="none" normalizeH="0" baseline="0" dirty="0">
                <a:ln>
                  <a:noFill/>
                </a:ln>
                <a:effectLst/>
                <a:latin typeface="+mj-lt"/>
                <a:ea typeface="Arial" panose="020B0604020202020204" pitchFamily="34" charset="0"/>
              </a:rPr>
              <a:t>• </a:t>
            </a:r>
            <a:r>
              <a:rPr lang="km-KH" altLang="en-US" sz="2400" dirty="0">
                <a:latin typeface="+mj-lt"/>
                <a:ea typeface="Calibri" panose="020F0502020204030204" pitchFamily="34" charset="0"/>
              </a:rPr>
              <a:t>ការធ្លាក់ខ្លួនឈឺពីកូវីដ-19 ក្នុងអំឡុងពេលមានផ្ទៃពោះបង្កើន​ហានិភ័យ​នៃការឈឺធ្ងន់ធ្ងរ និងការឆ្លងទន្លេមុន​កំណត់ ។</a:t>
            </a:r>
            <a:endParaRPr lang="en-US" altLang="en-US" sz="2400" dirty="0">
              <a:latin typeface="+mj-lt"/>
              <a:ea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Arial" panose="020B0604020202020204" pitchFamily="34" charset="0"/>
              </a:rPr>
              <a:t>• </a:t>
            </a:r>
            <a:r>
              <a:rPr kumimoji="0" lang="km-KH" altLang="en-US" sz="2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ea typeface="Calibri" panose="020F0502020204030204" pitchFamily="34" charset="0"/>
              </a:rPr>
              <a:t>ការទទួលវ៉ាក់សាំងគឺជាជម្រើសផ្ទាល់ខ្លួន សម្រាប់​បុគ្គលដេលមានផ្ទៃពោះ​និង​បំបៅដោះកូន ។  ប្រសិនបើអ្នកមានសំណួរនានា សូមពិគ្រោះជាមួយអ្នកផ្តល់សេវាការថែទាំសុខភាពរបស់អ្នក។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0693211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EB489F-C3F8-44C1-9BB9-00F5D6FE80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5936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fr-CA" sz="3000" b="1" dirty="0" err="1">
                <a:latin typeface="Kh Content" panose="02000500000000020004" pitchFamily="2" charset="0"/>
                <a:cs typeface="Kh Content" panose="02000500000000020004" pitchFamily="2" charset="0"/>
              </a:rPr>
              <a:t>សេចក្ដីណែនាំ</a:t>
            </a:r>
            <a:r>
              <a:rPr lang="fr-CA" sz="3000" b="1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3000" b="1" dirty="0" err="1">
                <a:latin typeface="Kh Content" panose="02000500000000020004" pitchFamily="2" charset="0"/>
                <a:cs typeface="Kh Content" panose="02000500000000020004" pitchFamily="2" charset="0"/>
              </a:rPr>
              <a:t>សំរាប់ការប្រើមគ្គុទ្ទេសក៍នេះ</a:t>
            </a:r>
            <a:r>
              <a:rPr lang="fr-CA" sz="3000" b="1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40ACD5-A597-48EA-981B-26A084A0EC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3338" y="1032958"/>
            <a:ext cx="11343861" cy="5515946"/>
          </a:xfrm>
        </p:spPr>
        <p:txBody>
          <a:bodyPr>
            <a:normAutofit/>
          </a:bodyPr>
          <a:lstStyle/>
          <a:p>
            <a:pPr>
              <a:lnSpc>
                <a:spcPts val="3400"/>
              </a:lnSpc>
            </a:pPr>
            <a:r>
              <a:rPr lang="fr-CA" sz="18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គ្គុទ្ទេសក៍នេះ</a:t>
            </a:r>
            <a:r>
              <a:rPr lang="fr-CA" sz="1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8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ានរៀបចំឡើងសំរាប់អ្នកផ្ដល់សេវា</a:t>
            </a:r>
            <a:r>
              <a:rPr lang="fr-CA" sz="1800" dirty="0">
                <a:latin typeface="Kh Content" panose="02000500000000020004" pitchFamily="2" charset="0"/>
                <a:cs typeface="Kh Content" panose="02000500000000020004" pitchFamily="2" charset="0"/>
              </a:rPr>
              <a:t>, </a:t>
            </a:r>
            <a:r>
              <a:rPr lang="fr-CA" sz="18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្រុមសហគមន</a:t>
            </a:r>
            <a:r>
              <a:rPr lang="fr-CA" sz="1800" dirty="0">
                <a:latin typeface="Kh Content" panose="02000500000000020004" pitchFamily="2" charset="0"/>
                <a:cs typeface="Kh Content" panose="02000500000000020004" pitchFamily="2" charset="0"/>
              </a:rPr>
              <a:t>៍, </a:t>
            </a:r>
            <a:r>
              <a:rPr lang="fr-CA" sz="18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អ្នកផ្សេងៗទៀត</a:t>
            </a:r>
            <a:r>
              <a:rPr lang="fr-CA" sz="1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8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ើម្បីធ្វើពិធីប្រជុំ</a:t>
            </a:r>
            <a:r>
              <a:rPr lang="fr-CA" sz="1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800" dirty="0" err="1">
                <a:latin typeface="Kh Content" panose="02000500000000020004" pitchFamily="2" charset="0"/>
                <a:cs typeface="Kh Content" panose="02000500000000020004" pitchFamily="2" charset="0"/>
              </a:rPr>
              <a:t>ឬវេទិកា</a:t>
            </a:r>
            <a:r>
              <a:rPr lang="fr-CA" sz="1800" dirty="0">
                <a:latin typeface="Kh Content" panose="02000500000000020004" pitchFamily="2" charset="0"/>
                <a:cs typeface="Kh Content" panose="02000500000000020004" pitchFamily="2" charset="0"/>
              </a:rPr>
              <a:t>                    </a:t>
            </a:r>
            <a:r>
              <a:rPr lang="fr-CA" sz="1800" dirty="0" err="1">
                <a:latin typeface="Kh Content" panose="02000500000000020004" pitchFamily="2" charset="0"/>
                <a:cs typeface="Kh Content" panose="02000500000000020004" pitchFamily="2" charset="0"/>
              </a:rPr>
              <a:t>តាមតំបន</a:t>
            </a:r>
            <a:r>
              <a:rPr lang="fr-CA" sz="18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18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ំពីវ៉ាក់សាំង</a:t>
            </a:r>
            <a:r>
              <a:rPr lang="fr-CA" sz="1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8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ោយមានគោលដៅ</a:t>
            </a:r>
            <a:r>
              <a:rPr lang="fr-CA" sz="1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8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ើម្បីបង្កើនទំនុកចិត្ដ</a:t>
            </a:r>
            <a:r>
              <a:rPr lang="fr-CA" sz="1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800" dirty="0" err="1">
                <a:latin typeface="Kh Content" panose="02000500000000020004" pitchFamily="2" charset="0"/>
                <a:cs typeface="Kh Content" panose="02000500000000020004" pitchFamily="2" charset="0"/>
              </a:rPr>
              <a:t>ចំពោះវ៉ាក់សាំង</a:t>
            </a:r>
            <a:r>
              <a:rPr lang="fr-CA" sz="1800" dirty="0">
                <a:latin typeface="Kh Content" panose="02000500000000020004" pitchFamily="2" charset="0"/>
                <a:cs typeface="Kh Content" panose="02000500000000020004" pitchFamily="2" charset="0"/>
              </a:rPr>
              <a:t>។  </a:t>
            </a:r>
          </a:p>
          <a:p>
            <a:pPr>
              <a:lnSpc>
                <a:spcPts val="3400"/>
              </a:lnSpc>
            </a:pPr>
            <a:r>
              <a:rPr lang="fr-CA" sz="18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ាបញ្ចូលព័ត៌មានមកពី</a:t>
            </a:r>
            <a:r>
              <a:rPr lang="fr-CA" sz="1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8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្រសួងសុខភាពសាធារណៈ</a:t>
            </a:r>
            <a:r>
              <a:rPr lang="fr-CA" sz="1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fr-CA" sz="2100" dirty="0" err="1">
                <a:latin typeface="Calibri" panose="020F0502020204030204" pitchFamily="34" charset="0"/>
                <a:cs typeface="Calibri" panose="020F0502020204030204" pitchFamily="34" charset="0"/>
              </a:rPr>
              <a:t>Department</a:t>
            </a:r>
            <a:r>
              <a:rPr lang="fr-CA" sz="2100" dirty="0">
                <a:latin typeface="Calibri" panose="020F0502020204030204" pitchFamily="34" charset="0"/>
                <a:cs typeface="Calibri" panose="020F0502020204030204" pitchFamily="34" charset="0"/>
              </a:rPr>
              <a:t> of Public </a:t>
            </a:r>
            <a:r>
              <a:rPr lang="fr-CA" sz="2100" dirty="0" err="1">
                <a:latin typeface="Calibri" panose="020F0502020204030204" pitchFamily="34" charset="0"/>
                <a:cs typeface="Calibri" panose="020F0502020204030204" pitchFamily="34" charset="0"/>
              </a:rPr>
              <a:t>Health</a:t>
            </a:r>
            <a:r>
              <a:rPr lang="fr-CA" sz="2100" dirty="0">
                <a:latin typeface="Calibri" panose="020F0502020204030204" pitchFamily="34" charset="0"/>
                <a:cs typeface="Calibri" panose="020F0502020204030204" pitchFamily="34" charset="0"/>
              </a:rPr>
              <a:t>, DPH)</a:t>
            </a:r>
            <a:r>
              <a:rPr lang="fr-CA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CA" sz="1800" dirty="0" err="1">
                <a:latin typeface="Kh Content" panose="02000500000000020004" pitchFamily="2" charset="0"/>
                <a:cs typeface="Kh Content" panose="02000500000000020004" pitchFamily="2" charset="0"/>
              </a:rPr>
              <a:t>រដ្ឋម៉ាស្សាជូសេត្ដ</a:t>
            </a:r>
            <a:r>
              <a:rPr lang="fr-CA" sz="1800" dirty="0">
                <a:latin typeface="Kh Content" panose="02000500000000020004" pitchFamily="2" charset="0"/>
                <a:cs typeface="Kh Content" panose="02000500000000020004" pitchFamily="2" charset="0"/>
              </a:rPr>
              <a:t>                       </a:t>
            </a:r>
            <a:r>
              <a:rPr lang="fr-CA" sz="1800" dirty="0" err="1">
                <a:latin typeface="Kh Content" panose="02000500000000020004" pitchFamily="2" charset="0"/>
                <a:cs typeface="Kh Content" panose="02000500000000020004" pitchFamily="2" charset="0"/>
              </a:rPr>
              <a:t>ជាការឆ្លើយតប</a:t>
            </a:r>
            <a:r>
              <a:rPr lang="fr-CA" sz="1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800" dirty="0" err="1">
                <a:latin typeface="Kh Content" panose="02000500000000020004" pitchFamily="2" charset="0"/>
                <a:cs typeface="Kh Content" panose="02000500000000020004" pitchFamily="2" charset="0"/>
              </a:rPr>
              <a:t>ចំពោះសំណួរដែលសួរជាទូទៅ</a:t>
            </a:r>
            <a:r>
              <a:rPr lang="fr-CA" sz="1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8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ជំរុញការពិភាក្សា</a:t>
            </a:r>
            <a:r>
              <a:rPr lang="fr-CA" sz="1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8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មតិតប</a:t>
            </a:r>
            <a:r>
              <a:rPr lang="fr-CA" sz="18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</a:p>
          <a:p>
            <a:pPr>
              <a:lnSpc>
                <a:spcPts val="3400"/>
              </a:lnSpc>
            </a:pPr>
            <a:r>
              <a:rPr lang="fr-CA" sz="18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ានចំណុចនិយាយបន្ថែម</a:t>
            </a:r>
            <a:r>
              <a:rPr lang="fr-CA" sz="1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8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ៅក្នុងផ្នែកកំណត់ហេតុ</a:t>
            </a:r>
            <a:r>
              <a:rPr lang="fr-CA" sz="1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8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ៃរូបបញ្ចាំងនិមួយ</a:t>
            </a:r>
            <a:r>
              <a:rPr lang="fr-CA" sz="1800" dirty="0">
                <a:latin typeface="Kh Content" panose="02000500000000020004" pitchFamily="2" charset="0"/>
                <a:cs typeface="Kh Content" panose="02000500000000020004" pitchFamily="2" charset="0"/>
              </a:rPr>
              <a:t>ៗ។</a:t>
            </a:r>
          </a:p>
          <a:p>
            <a:pPr>
              <a:lnSpc>
                <a:spcPts val="3400"/>
              </a:lnSpc>
            </a:pPr>
            <a:r>
              <a:rPr lang="fr-CA" sz="18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្នកអាចនឹងប្រើមាតិកានេះខ្លះ</a:t>
            </a:r>
            <a:r>
              <a:rPr lang="fr-CA" sz="1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800" dirty="0" err="1">
                <a:latin typeface="Kh Content" panose="02000500000000020004" pitchFamily="2" charset="0"/>
                <a:cs typeface="Kh Content" panose="02000500000000020004" pitchFamily="2" charset="0"/>
              </a:rPr>
              <a:t>ឬទាំងអស</a:t>
            </a:r>
            <a:r>
              <a:rPr lang="fr-CA" sz="18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18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ោយយោងលើចំណង</a:t>
            </a:r>
            <a:r>
              <a:rPr lang="fr-CA" sz="18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18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សេចក្ដីត្រូវការ</a:t>
            </a:r>
            <a:r>
              <a:rPr lang="fr-CA" sz="1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8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ៃសហគមន៍របស់អ្នក</a:t>
            </a:r>
            <a:r>
              <a:rPr lang="fr-CA" sz="18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</a:p>
          <a:p>
            <a:pPr marL="731520" lvl="1" indent="-365760">
              <a:lnSpc>
                <a:spcPts val="3400"/>
              </a:lnSpc>
              <a:buFont typeface="Courier New" panose="02070309020205020404" pitchFamily="49" charset="0"/>
              <a:buChar char="o"/>
            </a:pPr>
            <a:r>
              <a:rPr lang="fr-CA" sz="1800" dirty="0" err="1">
                <a:latin typeface="Kh Content" panose="02000500000000020004" pitchFamily="2" charset="0"/>
                <a:cs typeface="Kh Content" panose="02000500000000020004" pitchFamily="2" charset="0"/>
              </a:rPr>
              <a:t>ព័ត៌មានបន្ថែម</a:t>
            </a:r>
            <a:r>
              <a:rPr lang="fr-CA" sz="1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8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ើម្បីជំរាបវេទិការបស់អ្នក</a:t>
            </a:r>
            <a:r>
              <a:rPr lang="fr-CA" sz="1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8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ាចរកឃើញនៅ</a:t>
            </a:r>
            <a:r>
              <a:rPr lang="fr-CA" sz="1800" dirty="0">
                <a:latin typeface="Kh Content" panose="02000500000000020004" pitchFamily="2" charset="0"/>
                <a:cs typeface="Kh Content" panose="02000500000000020004" pitchFamily="2" charset="0"/>
              </a:rPr>
              <a:t>                                                               </a:t>
            </a:r>
            <a:r>
              <a:rPr lang="fr-CA" sz="2100" dirty="0"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https://www.mass.gov/covid-19-vaccine-in-massachusetts</a:t>
            </a:r>
            <a:r>
              <a:rPr lang="fr-CA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>
              <a:lnSpc>
                <a:spcPts val="3400"/>
              </a:lnSpc>
            </a:pPr>
            <a:r>
              <a:rPr lang="fr-CA" sz="18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គ្គុទ្ទេសក៍នឹងបានកែ</a:t>
            </a:r>
            <a:r>
              <a:rPr lang="fr-CA" sz="1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1800" dirty="0" err="1">
                <a:latin typeface="Kh Content" panose="02000500000000020004" pitchFamily="2" charset="0"/>
                <a:cs typeface="Kh Content" panose="02000500000000020004" pitchFamily="2" charset="0"/>
              </a:rPr>
              <a:t>យោងលើព័ត៌មានថ្មីអំពីវ៉ាក់សាំង</a:t>
            </a:r>
            <a:r>
              <a:rPr lang="fr-CA" sz="18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CA" sz="18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មតិតបមកពីអ្នកប្រើរបស់ខ្លួន</a:t>
            </a:r>
            <a:r>
              <a:rPr lang="fr-CA" sz="1800" dirty="0">
                <a:latin typeface="Kh Content" panose="02000500000000020004" pitchFamily="2" charset="0"/>
                <a:cs typeface="Kh Content" panose="02000500000000020004" pitchFamily="2" charset="0"/>
              </a:rPr>
              <a:t>។  </a:t>
            </a:r>
          </a:p>
          <a:p>
            <a:pPr>
              <a:lnSpc>
                <a:spcPts val="3400"/>
              </a:lnSpc>
            </a:pPr>
            <a:r>
              <a:rPr lang="km-KH" sz="1800" dirty="0">
                <a:solidFill>
                  <a:srgbClr val="FF0000"/>
                </a:solidFill>
                <a:latin typeface="Kh Content" panose="020B0604020202020204" charset="0"/>
                <a:cs typeface="Kh Content" panose="020B0604020202020204" charset="0"/>
              </a:rPr>
              <a:t>សូមដករូបបញ្ចាំងនេះ​ពីបណ្តុំមុននឹង​វេទិការបស់​អ្នក​។</a:t>
            </a:r>
            <a:endParaRPr lang="fr-CA" sz="1800" dirty="0">
              <a:solidFill>
                <a:srgbClr val="FF0000"/>
              </a:solidFill>
              <a:latin typeface="Kh Content" panose="020B0604020202020204" charset="0"/>
              <a:cs typeface="Kh Content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895540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738515A-DC24-4FF1-85F9-68F50ED8147F}"/>
              </a:ext>
            </a:extLst>
          </p:cNvPr>
          <p:cNvSpPr txBox="1"/>
          <p:nvPr/>
        </p:nvSpPr>
        <p:spPr>
          <a:xfrm>
            <a:off x="152121" y="207736"/>
            <a:ext cx="12013375" cy="52322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fr-CA" sz="3000" dirty="0" err="1">
                <a:latin typeface="Kh Content" panose="02000500000000020004" pitchFamily="2" charset="0"/>
                <a:cs typeface="Kh Content" panose="02000500000000020004" pitchFamily="2" charset="0"/>
              </a:rPr>
              <a:t>តើវ៉ាក់សាំង</a:t>
            </a:r>
            <a:r>
              <a:rPr lang="fr-CA" sz="3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3400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3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30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ានប្រសិទ្ធភាពសំរាប់ក្មេងៗឬទេ</a:t>
            </a:r>
            <a:r>
              <a:rPr lang="fr-CA" sz="3000" dirty="0">
                <a:latin typeface="Kh Content" panose="02000500000000020004" pitchFamily="2" charset="0"/>
                <a:cs typeface="Kh Content" panose="02000500000000020004" pitchFamily="2" charset="0"/>
              </a:rPr>
              <a:t>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069143-FE01-453C-934A-DAA4862AED31}"/>
              </a:ext>
            </a:extLst>
          </p:cNvPr>
          <p:cNvSpPr/>
          <p:nvPr/>
        </p:nvSpPr>
        <p:spPr>
          <a:xfrm>
            <a:off x="379550" y="3036886"/>
            <a:ext cx="6468355" cy="2336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ts val="3500"/>
              </a:lnSpc>
              <a:buFont typeface="Arial" panose="020B0604020202020204" pitchFamily="34" charset="0"/>
              <a:buChar char="•"/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៉ាក់សាំង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Pfizer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ត្រូវបានអនុញ្ញាតសំរាប់មនុស្សអាយុ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km-KH" sz="2400" dirty="0">
                <a:latin typeface="Calibri" panose="020F0502020204030204" pitchFamily="34" charset="0"/>
                <a:cs typeface="Calibri" panose="020F0502020204030204" pitchFamily="34" charset="0"/>
              </a:rPr>
              <a:t>5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ឆ្នាំ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ចាស់ជាង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km-KH" sz="2100" dirty="0">
                <a:latin typeface="Kh Content" panose="02000500000000020004" pitchFamily="2" charset="0"/>
                <a:cs typeface="Kh Content" panose="02000500000000020004" pitchFamily="2" charset="0"/>
              </a:rPr>
              <a:t>ហើយទទួលបានការអនុញ្ញាតពេញលេញសម្រាប់មនុស្សដែលមានអាយុ16ឆ្នាំឡើងទៅ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</a:p>
          <a:p>
            <a:pPr marL="342900" indent="-342900">
              <a:lnSpc>
                <a:spcPts val="3500"/>
              </a:lnSpc>
              <a:buFont typeface="Arial" panose="020B0604020202020204" pitchFamily="34" charset="0"/>
              <a:buChar char="•"/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៉ាក់សាំង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Moderna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Johnson &amp; Johnson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ត្រូវបានអនុញ្ញាត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ំរាប់មនុស្សអាយុ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 18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ឆ្នាំ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ចាស់ជាង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endParaRPr lang="en-US" sz="2100" dirty="0">
              <a:latin typeface="Kh Content" panose="02000500000000020004" pitchFamily="2" charset="0"/>
              <a:cs typeface="Kh Content" panose="02000500000000020004" pitchFamily="2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580EDB5-F8CE-40E3-B3DB-34A41D4BFC91}"/>
              </a:ext>
            </a:extLst>
          </p:cNvPr>
          <p:cNvSpPr txBox="1"/>
          <p:nvPr/>
        </p:nvSpPr>
        <p:spPr>
          <a:xfrm>
            <a:off x="478572" y="4996760"/>
            <a:ext cx="9314786" cy="914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A4D9B13-D057-4920-BD14-690DD0111190}"/>
              </a:ext>
            </a:extLst>
          </p:cNvPr>
          <p:cNvSpPr txBox="1"/>
          <p:nvPr/>
        </p:nvSpPr>
        <p:spPr>
          <a:xfrm>
            <a:off x="544744" y="4996760"/>
            <a:ext cx="11527986" cy="144216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lvl="0"/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Google Shape;611;p25" descr="Group of young people with arms around each other.">
            <a:extLst>
              <a:ext uri="{FF2B5EF4-FFF2-40B4-BE49-F238E27FC236}">
                <a16:creationId xmlns:a16="http://schemas.microsoft.com/office/drawing/2014/main" id="{3D504A1A-94AC-4E5D-B5A1-7388D5DD361F}"/>
              </a:ext>
            </a:extLst>
          </p:cNvPr>
          <p:cNvPicPr preferRelativeResize="0"/>
          <p:nvPr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9254" y="2694222"/>
            <a:ext cx="4888159" cy="3216956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FF069143-FE01-453C-934A-DAA4862AED31}"/>
              </a:ext>
            </a:extLst>
          </p:cNvPr>
          <p:cNvSpPr/>
          <p:nvPr/>
        </p:nvSpPr>
        <p:spPr>
          <a:xfrm>
            <a:off x="368660" y="1197190"/>
            <a:ext cx="11371579" cy="2336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3500"/>
              </a:lnSpc>
            </a:pPr>
            <a:r>
              <a:rPr lang="km-KH" sz="2100" dirty="0">
                <a:latin typeface="Kh Content" panose="02000500000000020004" pitchFamily="2" charset="0"/>
                <a:cs typeface="Kh Content" panose="02000500000000020004" pitchFamily="2" charset="0"/>
              </a:rPr>
              <a:t>បាទ/ចាស</a:t>
            </a:r>
          </a:p>
          <a:p>
            <a:pPr marL="342900" indent="-342900">
              <a:lnSpc>
                <a:spcPts val="3500"/>
              </a:lnSpc>
              <a:buFont typeface="Arial" panose="020B0604020202020204" pitchFamily="34" charset="0"/>
              <a:buChar char="•"/>
            </a:pPr>
            <a:r>
              <a:rPr lang="en-US" sz="2100" dirty="0">
                <a:latin typeface="Kh Content" panose="02000500000000020004" pitchFamily="2" charset="0"/>
                <a:cs typeface="Kh Content" panose="02000500000000020004" pitchFamily="2" charset="0"/>
              </a:rPr>
              <a:t>CDC </a:t>
            </a:r>
            <a:r>
              <a:rPr lang="km-KH" sz="2100" dirty="0">
                <a:latin typeface="Kh Content" panose="02000500000000020004" pitchFamily="2" charset="0"/>
                <a:cs typeface="Kh Content" panose="02000500000000020004" pitchFamily="2" charset="0"/>
              </a:rPr>
              <a:t>ណែនាំ​ឲ្យ​អ្នកដែលមានអាយុ​ 5ឆ្នាំ​ឡើង​ទៅ ទទួល​វ៉ាក់សាំង​ </a:t>
            </a:r>
            <a:r>
              <a:rPr lang="en-US" sz="2100" dirty="0">
                <a:latin typeface="Kh Content" panose="02000500000000020004" pitchFamily="2" charset="0"/>
                <a:cs typeface="Kh Content" panose="02000500000000020004" pitchFamily="2" charset="0"/>
              </a:rPr>
              <a:t>COVID-19</a:t>
            </a:r>
            <a:r>
              <a:rPr lang="km-KH" sz="2100" dirty="0"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</a:p>
          <a:p>
            <a:pPr marL="342900" indent="-342900">
              <a:lnSpc>
                <a:spcPts val="3500"/>
              </a:lnSpc>
              <a:buFont typeface="Arial" panose="020B0604020202020204" pitchFamily="34" charset="0"/>
              <a:buChar char="•"/>
            </a:pPr>
            <a:r>
              <a:rPr lang="km-KH" sz="2100" dirty="0">
                <a:latin typeface="Kh Content" panose="02000500000000020004" pitchFamily="2" charset="0"/>
                <a:cs typeface="Kh Content" panose="02000500000000020004" pitchFamily="2" charset="0"/>
              </a:rPr>
              <a:t>អ្នកវិទ្យាសាស្ត្រ​បាន​អនុវត្ត​ការ​ធ្វើតេស្ត​បែបគ្លីនិច​ទៅលើកុមារ​រាប់ពាន់នាក់ និង​បានសម្រេចថា​វ៉ាក់សាំង​នេះ​​មានសុវត្ថិភាព​និង​ប្រសិទ្ធភាព​។</a:t>
            </a:r>
          </a:p>
          <a:p>
            <a:pPr>
              <a:lnSpc>
                <a:spcPts val="3500"/>
              </a:lnSpc>
            </a:pPr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051277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F0DC069-7A18-449E-9B5B-42D496ED299A}"/>
              </a:ext>
            </a:extLst>
          </p:cNvPr>
          <p:cNvSpPr txBox="1"/>
          <p:nvPr/>
        </p:nvSpPr>
        <p:spPr>
          <a:xfrm>
            <a:off x="392124" y="291335"/>
            <a:ext cx="11314323" cy="50590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>
              <a:lnSpc>
                <a:spcPts val="3900"/>
              </a:lnSpc>
            </a:pPr>
            <a:r>
              <a:rPr lang="fr-CA" sz="3000">
                <a:latin typeface="Kh Content" panose="02000500000000020004" pitchFamily="2" charset="0"/>
                <a:cs typeface="Kh Content" panose="02000500000000020004" pitchFamily="2" charset="0"/>
              </a:rPr>
              <a:t>តើវ៉ាក់សាំង </a:t>
            </a:r>
            <a:r>
              <a:rPr lang="fr-CA" sz="340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3000">
                <a:latin typeface="Kh Content" panose="02000500000000020004" pitchFamily="2" charset="0"/>
                <a:cs typeface="Kh Content" panose="02000500000000020004" pitchFamily="2" charset="0"/>
              </a:rPr>
              <a:t> នឹងផ្លាស់ប្ដូរ </a:t>
            </a:r>
            <a:r>
              <a:rPr lang="fr-CA" sz="3400">
                <a:latin typeface="Calibri" panose="020F0502020204030204" pitchFamily="34" charset="0"/>
                <a:cs typeface="Calibri" panose="020F0502020204030204" pitchFamily="34" charset="0"/>
              </a:rPr>
              <a:t>DNA </a:t>
            </a:r>
            <a:r>
              <a:rPr lang="fr-CA" sz="3000">
                <a:latin typeface="Kh Content" panose="02000500000000020004" pitchFamily="2" charset="0"/>
                <a:cs typeface="Kh Content" panose="02000500000000020004" pitchFamily="2" charset="0"/>
              </a:rPr>
              <a:t>របស់ខ្ញុំឬទេ?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5C5A823-101A-4EFF-BD93-CBB21EC8DD44}"/>
              </a:ext>
            </a:extLst>
          </p:cNvPr>
          <p:cNvSpPr/>
          <p:nvPr/>
        </p:nvSpPr>
        <p:spPr>
          <a:xfrm>
            <a:off x="478572" y="1418500"/>
            <a:ext cx="11227876" cy="4880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ts val="4200"/>
              </a:lnSpc>
              <a:buFont typeface="Arial" panose="020B0604020202020204" pitchFamily="34" charset="0"/>
              <a:buChar char="•"/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ទេ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៉ាក់សាំង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ឹងមិនផ្លាស់ប្ដូរ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ឬប្រទូស្ដប្រទាំងជាមួយ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km-KH" sz="2100" dirty="0">
                <a:latin typeface="Kh Content" panose="02000500000000020004" pitchFamily="2" charset="0"/>
                <a:cs typeface="Kh Content" panose="02000500000000020004" pitchFamily="2" charset="0"/>
              </a:rPr>
              <a:t>ភិនភាគនៃសាច់សាលោហិត </a:t>
            </a:r>
            <a:r>
              <a:rPr lang="en-US" sz="2400" dirty="0">
                <a:latin typeface="Calibri" panose="020F0502020204030204" pitchFamily="34" charset="0"/>
                <a:cs typeface="Kh Content" panose="02000500000000020004" pitchFamily="2" charset="0"/>
              </a:rPr>
              <a:t>(</a:t>
            </a:r>
            <a:r>
              <a:rPr lang="fr-CA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Deoxyribonucleic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 Acid, DNA)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របស់អ្នក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្នុងរបៀបអ្វីមួយឡើយ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</a:p>
          <a:p>
            <a:pPr>
              <a:lnSpc>
                <a:spcPts val="3500"/>
              </a:lnSpc>
            </a:pPr>
            <a:endParaRPr lang="en-US" sz="21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marL="285750" indent="-285750">
              <a:lnSpc>
                <a:spcPts val="3500"/>
              </a:lnSpc>
              <a:buFont typeface="Arial" panose="020B0604020202020204" pitchFamily="34" charset="0"/>
              <a:buChar char="•"/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៉ាក់សាំងបង្រៀនប្រព័ន្ធស៊ាំរោគរបស់អ្នក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ពីរបៀបប្រយុទ្ធ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្រឆាំងនឹងវីរុសជាក់លាក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់។ </a:t>
            </a:r>
          </a:p>
          <a:p>
            <a:pPr marL="285750" indent="-285750">
              <a:lnSpc>
                <a:spcPts val="3500"/>
              </a:lnSpc>
              <a:buFont typeface="Arial" panose="020B0604020202020204" pitchFamily="34" charset="0"/>
              <a:buChar char="•"/>
            </a:pPr>
            <a:endParaRPr lang="en-US" sz="21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marL="285750" indent="-285750">
              <a:lnSpc>
                <a:spcPts val="3800"/>
              </a:lnSpc>
              <a:buFont typeface="Arial" panose="020B0604020202020204" pitchFamily="34" charset="0"/>
              <a:buChar char="•"/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ើម្បីធ្វើការងាររបស់វា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៉ាក់សាំង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ិនត្រូវការចូលទៅខាងក្នុងស្នូលនៃកោសិកា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ែលជាកន្លែង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DNA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របស់យើងបានទុកទេ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េះមានសេចក្ដីថា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៉ាក់សាំងមិនដែលប្រទូស្ដប្រទាំង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ជាមួយ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DNA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របស់អ្នក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្នុងរបៀបអ្វីមួយ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ក៏គ្មានផ្លូវផ្លាស់ប្តូរវាឡើយ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</a:p>
          <a:p>
            <a:pPr>
              <a:lnSpc>
                <a:spcPts val="3200"/>
              </a:lnSpc>
            </a:pP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 </a:t>
            </a:r>
          </a:p>
          <a:p>
            <a:endParaRPr lang="en-US" sz="3200" b="1" dirty="0"/>
          </a:p>
        </p:txBody>
      </p:sp>
    </p:spTree>
    <p:extLst>
      <p:ext uri="{BB962C8B-B14F-4D97-AF65-F5344CB8AC3E}">
        <p14:creationId xmlns:p14="http://schemas.microsoft.com/office/powerpoint/2010/main" val="418310999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F0DC069-7A18-449E-9B5B-42D496ED299A}"/>
              </a:ext>
            </a:extLst>
          </p:cNvPr>
          <p:cNvSpPr txBox="1"/>
          <p:nvPr/>
        </p:nvSpPr>
        <p:spPr>
          <a:xfrm>
            <a:off x="392124" y="291335"/>
            <a:ext cx="11314323" cy="50590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>
              <a:lnSpc>
                <a:spcPts val="3900"/>
              </a:lnSpc>
            </a:pPr>
            <a:r>
              <a:rPr lang="km-KH" sz="3200" dirty="0">
                <a:latin typeface="Kh Content" panose="020B0604020202020204" charset="0"/>
                <a:cs typeface="Kh Content" panose="020B0604020202020204" charset="0"/>
              </a:rPr>
              <a:t>តើវ៉ាក់សាំងដំណើរការ​ជំទាស់​ការបំប្លែងកូវីដ</a:t>
            </a:r>
            <a:r>
              <a:rPr lang="en-US" sz="3200" dirty="0">
                <a:latin typeface="Kh Content" panose="020B0604020202020204" charset="0"/>
                <a:cs typeface="Kh Content" panose="020B0604020202020204" charset="0"/>
              </a:rPr>
              <a:t>-19</a:t>
            </a:r>
            <a:r>
              <a:rPr lang="km-KH" sz="3200" dirty="0">
                <a:latin typeface="Kh Content" panose="020B0604020202020204" charset="0"/>
                <a:cs typeface="Kh Content" panose="020B0604020202020204" charset="0"/>
              </a:rPr>
              <a:t> ឬទេ?</a:t>
            </a:r>
            <a:endParaRPr lang="fr-CA" sz="3000" dirty="0">
              <a:latin typeface="Kh Content" panose="02000500000000020004" pitchFamily="2" charset="0"/>
              <a:cs typeface="Kh Content" panose="02000500000000020004" pitchFamily="2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5C5A823-101A-4EFF-BD93-CBB21EC8DD44}"/>
              </a:ext>
            </a:extLst>
          </p:cNvPr>
          <p:cNvSpPr/>
          <p:nvPr/>
        </p:nvSpPr>
        <p:spPr>
          <a:xfrm>
            <a:off x="478572" y="1418500"/>
            <a:ext cx="11227876" cy="27084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ts val="36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m-KH" sz="2100" dirty="0">
                <a:latin typeface="Kh Content" panose="020B0604020202020204" charset="0"/>
                <a:cs typeface="Kh Content" panose="020B0604020202020204" charset="0"/>
              </a:rPr>
              <a:t>វាធម្មតាទេដែលវីរុសផ្លាស់ប្តូរ​នៅ​ពេលវារីករាលដាល ហើយនិង​សម្រាប់ការបំប្លែងថ្មី​បង្ហាញខ្លួន ។</a:t>
            </a:r>
          </a:p>
          <a:p>
            <a:pPr marL="342900" indent="-342900">
              <a:lnSpc>
                <a:spcPts val="36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m-KH" sz="2100" dirty="0">
                <a:latin typeface="Kh Content" panose="020B0604020202020204" charset="0"/>
                <a:cs typeface="Kh Content" panose="020B0604020202020204" charset="0"/>
              </a:rPr>
              <a:t>រហូតដល់​ពេល​នេះ ការសិក្សាបង្ហាញថា​វ៉ាក់សាំង​ផ្តល់​នូវការការពារពីការបំប្លែងដែលធ្លាប់មានពីមុន (ដូចជាដែលតា និង​អូមីក្រុង) ។</a:t>
            </a:r>
          </a:p>
          <a:p>
            <a:pPr marL="342900" indent="-342900">
              <a:lnSpc>
                <a:spcPts val="36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m-KH" sz="2100" dirty="0">
                <a:latin typeface="Kh Content" panose="020B0604020202020204" charset="0"/>
                <a:cs typeface="Kh Content" panose="020B0604020202020204" charset="0"/>
              </a:rPr>
              <a:t>ព្រមទាំងនៅពេលដែលបុគ្គលបានទទួលវ៉ាក់សាំងរួចហើយក្តី អាចកើតមានកូវីដ</a:t>
            </a:r>
            <a:r>
              <a:rPr lang="en-US" sz="2100" dirty="0">
                <a:latin typeface="Kh Content" panose="020B0604020202020204" charset="0"/>
                <a:cs typeface="Kh Content" panose="020B0604020202020204" charset="0"/>
              </a:rPr>
              <a:t>-19 </a:t>
            </a:r>
            <a:r>
              <a:rPr lang="km-KH" sz="2100" dirty="0">
                <a:latin typeface="Kh Content" panose="020B0604020202020204" charset="0"/>
                <a:cs typeface="Kh Content" panose="020B0604020202020204" charset="0"/>
              </a:rPr>
              <a:t>បុគ្គលនោះទទួលការការពារ​ជំទាស់​ជម្ងឺធ្ងន់ធ្ងរ​និង​សេចក្តីស្លាប់ ។</a:t>
            </a:r>
            <a:endParaRPr lang="fr-CA" sz="2100" dirty="0">
              <a:latin typeface="Kh Content" panose="02000500000000020004" pitchFamily="2" charset="0"/>
              <a:cs typeface="Kh Content" panose="02000500000000020004" pitchFamily="2" charset="0"/>
            </a:endParaRPr>
          </a:p>
        </p:txBody>
      </p:sp>
      <p:pic>
        <p:nvPicPr>
          <p:cNvPr id="4" name="Picture 3" descr="A picture of a virus and the spikes on its surface.">
            <a:extLst>
              <a:ext uri="{FF2B5EF4-FFF2-40B4-BE49-F238E27FC236}">
                <a16:creationId xmlns:a16="http://schemas.microsoft.com/office/drawing/2014/main" id="{5B53736D-B02B-476C-83A1-92E3CB406E87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3544" y="3625186"/>
            <a:ext cx="2933700" cy="2706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444705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F0DC069-7A18-449E-9B5B-42D496ED299A}"/>
              </a:ext>
            </a:extLst>
          </p:cNvPr>
          <p:cNvSpPr txBox="1"/>
          <p:nvPr/>
        </p:nvSpPr>
        <p:spPr>
          <a:xfrm>
            <a:off x="392124" y="291335"/>
            <a:ext cx="11314323" cy="50590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>
              <a:lnSpc>
                <a:spcPts val="3900"/>
              </a:lnSpc>
            </a:pPr>
            <a:r>
              <a:rPr lang="km-KH" sz="3200" dirty="0">
                <a:latin typeface="Kh Content" panose="020B0604020202020204" charset="0"/>
                <a:cs typeface="Kh Content" panose="020B0604020202020204" charset="0"/>
              </a:rPr>
              <a:t>តើខ្ញុំនឹង​ត្រូវការ​ការចាក់វ៉ាក់សាំងដូសជំរុញដែរ​ឬទេ?</a:t>
            </a:r>
            <a:endParaRPr lang="fr-CA" sz="3000" dirty="0">
              <a:latin typeface="Kh Content" panose="02000500000000020004" pitchFamily="2" charset="0"/>
              <a:cs typeface="Kh Content" panose="02000500000000020004" pitchFamily="2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5C5A823-101A-4EFF-BD93-CBB21EC8DD44}"/>
              </a:ext>
            </a:extLst>
          </p:cNvPr>
          <p:cNvSpPr/>
          <p:nvPr/>
        </p:nvSpPr>
        <p:spPr>
          <a:xfrm>
            <a:off x="669470" y="1042933"/>
            <a:ext cx="11179630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m-KH" dirty="0">
                <a:latin typeface="Kh Content" panose="020B0604020202020204" charset="0"/>
                <a:cs typeface="Kh Content" panose="020B0604020202020204" charset="0"/>
              </a:rPr>
              <a:t>វ៉ាក់សាំង​កូវីដ-19 មានប្រសិទ្ធភាព​ខ្ពស់ប្រឆាំង​នឹង​ការ​ឈឺធ្ងន់ធ្ងរ ការចូលសម្រាកពេទ្យ​ និង​ការស្លាប់បាត់បង់ជីវិត​។ </a:t>
            </a:r>
            <a:r>
              <a:rPr lang="km-KH" spc="40" dirty="0">
                <a:latin typeface="Kh Content" panose="020B0604020202020204" charset="0"/>
                <a:cs typeface="Kh Content" panose="020B0604020202020204" charset="0"/>
              </a:rPr>
              <a:t>ប៉ុន្តែ​ </a:t>
            </a:r>
            <a:r>
              <a:rPr lang="en-US" spc="40" dirty="0">
                <a:latin typeface="Kh Content" panose="020B0604020202020204" charset="0"/>
                <a:cs typeface="Kh Content" panose="020B0604020202020204" charset="0"/>
              </a:rPr>
              <a:t>   </a:t>
            </a:r>
            <a:r>
              <a:rPr lang="km-KH" spc="40" dirty="0">
                <a:latin typeface="Kh Content" panose="020B0604020202020204" charset="0"/>
                <a:cs typeface="Kh Content" panose="020B0604020202020204" charset="0"/>
              </a:rPr>
              <a:t>អ្នកជំនាញ​សុខភាព​សាធារណៈ ចាប់ផ្តើម​មើលឃើញ​ពី​ការពារតិចតួច​ទប់ទល់នឹង​ជំងឺ​ស្រាល​និងមធ្យម​។ </a:t>
            </a:r>
            <a:r>
              <a:rPr lang="km-KH" dirty="0">
                <a:latin typeface="Kh Content" panose="020B0604020202020204" charset="0"/>
                <a:cs typeface="Kh Content" panose="020B0604020202020204" charset="0"/>
              </a:rPr>
              <a:t>ដូស​​​ជំរុញ​រក្សា​ប្រសិទ្ធភាព​វ៉ាក់សាំង​កាន់តែយូរ​។​</a:t>
            </a:r>
          </a:p>
          <a:p>
            <a:pPr marL="342900" indent="-3429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m-KH" dirty="0">
                <a:latin typeface="Kh Content" panose="020B0604020202020204" charset="0"/>
                <a:cs typeface="Kh Content" panose="020B0604020202020204" charset="0"/>
              </a:rPr>
              <a:t>អ្នកដែលមានអាយុ​ 12ឆ្នាំឡើង​ទៅ អាច​ទទួល​វ៉ា​​ក់សាំង​ដួស​ជំរុញ​​​​បាន ប្រសិនបើ​៖​</a:t>
            </a:r>
          </a:p>
          <a:p>
            <a:pPr marL="571500" lvl="1" indent="-3429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>
                <a:latin typeface="Kh Content" panose="020B0604020202020204" charset="0"/>
                <a:cs typeface="Kh Content" panose="020B0604020202020204" charset="0"/>
              </a:rPr>
              <a:t>Pfizer </a:t>
            </a:r>
            <a:r>
              <a:rPr lang="en-US" dirty="0">
                <a:latin typeface="Kh Content" panose="020B0604020202020204" charset="0"/>
                <a:cs typeface="Kh Content" panose="020B0604020202020204" charset="0"/>
              </a:rPr>
              <a:t>&amp; </a:t>
            </a:r>
            <a:r>
              <a:rPr lang="en-US" dirty="0" err="1">
                <a:latin typeface="Kh Content" panose="020B0604020202020204" charset="0"/>
                <a:cs typeface="Kh Content" panose="020B0604020202020204" charset="0"/>
              </a:rPr>
              <a:t>Moderna</a:t>
            </a:r>
            <a:r>
              <a:rPr lang="en-US" dirty="0">
                <a:latin typeface="Kh Content" panose="020B0604020202020204" charset="0"/>
                <a:cs typeface="Kh Content" panose="020B0604020202020204" charset="0"/>
              </a:rPr>
              <a:t>: </a:t>
            </a:r>
            <a:r>
              <a:rPr lang="km-KH" dirty="0">
                <a:latin typeface="Kh Content" panose="020B0604020202020204" charset="0"/>
                <a:cs typeface="Kh Content" panose="020B0604020202020204" charset="0"/>
              </a:rPr>
              <a:t>មានរយៈពេល​យ៉ាង​តិច​ 5ខែ​ ចាប់តាំងពីដូស​ទីពីរ​របស់អ្នកមក​</a:t>
            </a:r>
          </a:p>
          <a:p>
            <a:pPr marL="571500" lvl="1" indent="-3429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dirty="0">
                <a:latin typeface="Kh Content" panose="020B0604020202020204" charset="0"/>
                <a:cs typeface="Kh Content" panose="020B0604020202020204" charset="0"/>
              </a:rPr>
              <a:t>Johnson &amp; Johnson: </a:t>
            </a:r>
            <a:r>
              <a:rPr lang="km-KH" dirty="0">
                <a:latin typeface="Kh Content" panose="020B0604020202020204" charset="0"/>
                <a:cs typeface="Kh Content" panose="020B0604020202020204" charset="0"/>
              </a:rPr>
              <a:t>មានរយៈពេលយ៉ាង​តិច 2ខែ​ ចាប់តាំង​ពី​ដូស​ទីមួយ​របស់អ្នកមក​</a:t>
            </a:r>
          </a:p>
          <a:p>
            <a:pPr marL="293688" lvl="1" indent="-293688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m-KH" dirty="0">
                <a:latin typeface="Kh Content" panose="020B0604020202020204" charset="0"/>
                <a:cs typeface="Kh Content" panose="020B0604020202020204" charset="0"/>
              </a:rPr>
              <a:t>ប្រសិនបើអ្នក​មានអាយុ​ 12-17ឆ្នាំ អ្នក​អាច​ទទួល​វ៉ា​​ក់សាំង​ដួស​ជំរុញបាន​តែ​​​​​ប្រភេទ​ </a:t>
            </a:r>
            <a:r>
              <a:rPr lang="en-US" dirty="0"/>
              <a:t>Pfizer</a:t>
            </a:r>
            <a:r>
              <a:rPr lang="km-KH" dirty="0">
                <a:latin typeface="Kh Content" panose="020B0604020202020204" charset="0"/>
                <a:cs typeface="Kh Content" panose="020B0604020202020204" charset="0"/>
              </a:rPr>
              <a:t> ប៉ុណ្ណោះ។ ពុំនោះទេ អ្នក​អាច​ជ្រើសរើស​វ៉ាក់សាំង​ជំរុញ​ប្រភេទ​ណាមួយ​ដែលអ្នកចង់បាន​។​</a:t>
            </a:r>
          </a:p>
          <a:p>
            <a:pPr marL="342900" indent="-3429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m-KH" dirty="0">
                <a:latin typeface="Kh Content" panose="020B0604020202020204" charset="0"/>
                <a:cs typeface="Kh Content" panose="020B0604020202020204" charset="0"/>
              </a:rPr>
              <a:t>អ្នក​អាច​ទទួលបា​ន​ការចាក់​ដូសជំរុញ​នៅគ្រប់ទីកន្លែង​ដែល​វ៉ាក់សាំង​ទាំងនោះ​មានផ្តល់ជូន​ រួមទាំង​អ្នកផ្តល់​សេវា​ថែទាំ​បឋម​របស់អ្នក ឱសថស្ថាន​ ឬ​គ្លីនីកចាក់វ៉ាក់សាំង​សហគមន៍​។</a:t>
            </a:r>
          </a:p>
        </p:txBody>
      </p:sp>
    </p:spTree>
    <p:extLst>
      <p:ext uri="{BB962C8B-B14F-4D97-AF65-F5344CB8AC3E}">
        <p14:creationId xmlns:p14="http://schemas.microsoft.com/office/powerpoint/2010/main" val="219998414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CA" sz="3000" dirty="0" err="1">
                <a:latin typeface="Kh Content" panose="02000500000000020004" pitchFamily="2" charset="0"/>
                <a:cs typeface="Kh Content" panose="02000500000000020004" pitchFamily="2" charset="0"/>
              </a:rPr>
              <a:t>តើខ្ញុំធ្វើការណាត់ជួបដូចម្ដេច</a:t>
            </a:r>
            <a:r>
              <a:rPr lang="fr-CA" sz="3000" dirty="0">
                <a:latin typeface="Kh Content" panose="02000500000000020004" pitchFamily="2" charset="0"/>
                <a:cs typeface="Kh Content" panose="02000500000000020004" pitchFamily="2" charset="0"/>
              </a:rPr>
              <a:t>?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171082" y="1239887"/>
            <a:ext cx="9320296" cy="5056409"/>
          </a:xfrm>
        </p:spPr>
        <p:txBody>
          <a:bodyPr>
            <a:normAutofit/>
          </a:bodyPr>
          <a:lstStyle/>
          <a:p>
            <a:pPr lvl="1">
              <a:lnSpc>
                <a:spcPct val="150000"/>
              </a:lnSpc>
              <a:spcAft>
                <a:spcPts val="1000"/>
              </a:spcAft>
            </a:pPr>
            <a:r>
              <a:rPr lang="fr-CA" sz="2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្រើ</a:t>
            </a:r>
            <a:r>
              <a:rPr lang="fr-CA" sz="2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000" dirty="0">
                <a:latin typeface="Calibri" panose="020F0502020204030204" pitchFamily="34" charset="0"/>
                <a:cs typeface="Calibri" panose="020F0502020204030204" pitchFamily="34" charset="0"/>
              </a:rPr>
              <a:t>VaxFinder.mass.gov </a:t>
            </a:r>
            <a:r>
              <a:rPr lang="fr-CA" sz="20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ើម្បីស្វែងរកការណាត់ជួប</a:t>
            </a:r>
            <a:r>
              <a:rPr lang="km-KH" sz="2000" dirty="0">
                <a:latin typeface="Kh Content" panose="02000500000000020004" pitchFamily="2" charset="0"/>
                <a:cs typeface="Kh Content" panose="02000500000000020004" pitchFamily="2" charset="0"/>
              </a:rPr>
              <a:t> (រួមទាំង​ដូសជំរុញ)</a:t>
            </a:r>
            <a:r>
              <a:rPr lang="fr-CA" sz="2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000" dirty="0" err="1">
                <a:latin typeface="Kh Content" panose="02000500000000020004" pitchFamily="2" charset="0"/>
                <a:cs typeface="Kh Content" panose="02000500000000020004" pitchFamily="2" charset="0"/>
              </a:rPr>
              <a:t>តាមឱសថ</a:t>
            </a:r>
            <a:r>
              <a:rPr lang="km-KH" sz="2000" dirty="0">
                <a:latin typeface="Kh Content" panose="02000500000000020004" pitchFamily="2" charset="0"/>
                <a:cs typeface="Kh Content" panose="02000500000000020004" pitchFamily="2" charset="0"/>
              </a:rPr>
              <a:t>​</a:t>
            </a:r>
            <a:r>
              <a:rPr lang="fr-CA" sz="20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្ថាន</a:t>
            </a:r>
            <a:r>
              <a:rPr lang="fr-CA" sz="2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0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្នកផ្ដល់ការថែទាំសុខភាព</a:t>
            </a:r>
            <a:r>
              <a:rPr lang="fr-CA" sz="2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កន្លែងផ្សេងទៀត</a:t>
            </a:r>
            <a:r>
              <a:rPr lang="fr-CA" sz="2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ៅ</a:t>
            </a:r>
            <a:r>
              <a:rPr lang="km-KH" sz="2000" dirty="0">
                <a:latin typeface="Kh Content" panose="02000500000000020004" pitchFamily="2" charset="0"/>
                <a:ea typeface="Calibri" panose="020F0502020204030204" pitchFamily="34" charset="0"/>
                <a:cs typeface="Kh Content" panose="02000500000000020004" pitchFamily="2" charset="0"/>
              </a:rPr>
              <a:t>ទីកន្លែងក្នុង</a:t>
            </a:r>
            <a:r>
              <a:rPr lang="fr-CA" sz="20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ហគមន</a:t>
            </a:r>
            <a:r>
              <a:rPr lang="fr-CA" sz="2000" dirty="0">
                <a:latin typeface="Kh Content" panose="02000500000000020004" pitchFamily="2" charset="0"/>
                <a:cs typeface="Kh Content" panose="02000500000000020004" pitchFamily="2" charset="0"/>
              </a:rPr>
              <a:t>៍</a:t>
            </a:r>
            <a:r>
              <a:rPr lang="km-KH" sz="2000" dirty="0">
                <a:latin typeface="Kh Content" panose="02000500000000020004" pitchFamily="2" charset="0"/>
                <a:cs typeface="Kh Content" panose="02000500000000020004" pitchFamily="2" charset="0"/>
              </a:rPr>
              <a:t> ។ </a:t>
            </a:r>
            <a:r>
              <a:rPr lang="km-KH" sz="2000" dirty="0">
                <a:latin typeface="Kh Content" panose="02000500000000020004" pitchFamily="2" charset="0"/>
                <a:ea typeface="Calibri" panose="020F0502020204030204" pitchFamily="34" charset="0"/>
                <a:cs typeface="Kh Content" panose="02000500000000020004" pitchFamily="2" charset="0"/>
              </a:rPr>
              <a:t>មានចាក់ថ្នាំជាច្រើនទទួលការណាត់ជួបដើរចូល ។</a:t>
            </a:r>
            <a:endParaRPr lang="en-US" sz="2000" dirty="0">
              <a:latin typeface="Kh Content" panose="02000500000000020004" pitchFamily="2" charset="0"/>
              <a:ea typeface="Calibri" panose="020F0502020204030204" pitchFamily="34" charset="0"/>
              <a:cs typeface="Kh Content" panose="02000500000000020004" pitchFamily="2" charset="0"/>
            </a:endParaRPr>
          </a:p>
          <a:p>
            <a:pPr lvl="1">
              <a:lnSpc>
                <a:spcPct val="150000"/>
              </a:lnSpc>
              <a:spcAft>
                <a:spcPts val="1000"/>
              </a:spcAft>
            </a:pPr>
            <a:r>
              <a:rPr lang="km-KH" sz="2000" dirty="0">
                <a:latin typeface="Kh Content" panose="02000500000000020004" pitchFamily="2" charset="0"/>
                <a:ea typeface="Calibri" panose="020F0502020204030204" pitchFamily="34" charset="0"/>
                <a:cs typeface="Kh Content" panose="02000500000000020004" pitchFamily="2" charset="0"/>
              </a:rPr>
              <a:t>អ្នកអាចតម្រៀបដោយ​វ៉ាក់សាំង​ណាមួយ ដែលត្រូវ​បាន​ផ្តល់​ដើម្បី​ឲ្យបុគ្គលក្រោម​អាយុ </a:t>
            </a:r>
            <a:r>
              <a:rPr lang="en-US" sz="2000" dirty="0">
                <a:latin typeface="Kh Content" panose="02000500000000020004" pitchFamily="2" charset="0"/>
                <a:ea typeface="Calibri" panose="020F0502020204030204" pitchFamily="34" charset="0"/>
                <a:cs typeface="Kh Content" panose="02000500000000020004" pitchFamily="2" charset="0"/>
              </a:rPr>
              <a:t>18 </a:t>
            </a:r>
            <a:r>
              <a:rPr lang="km-KH" sz="2000" dirty="0">
                <a:latin typeface="Kh Content" panose="02000500000000020004" pitchFamily="2" charset="0"/>
                <a:ea typeface="Calibri" panose="020F0502020204030204" pitchFamily="34" charset="0"/>
                <a:cs typeface="Kh Content" panose="02000500000000020004" pitchFamily="2" charset="0"/>
              </a:rPr>
              <a:t>ឆ្នាំ អាចរកឃើញ​ទីកន្លែង​ដេល​គ្រាន់តែផ្តល់ វ៉ាក់សាំង​</a:t>
            </a:r>
            <a:r>
              <a:rPr lang="en-US" sz="2000" dirty="0">
                <a:latin typeface="Kh Content" panose="02000500000000020004" pitchFamily="2" charset="0"/>
                <a:ea typeface="Calibri" panose="020F0502020204030204" pitchFamily="34" charset="0"/>
                <a:cs typeface="Kh Content" panose="02000500000000020004" pitchFamily="2" charset="0"/>
              </a:rPr>
              <a:t> Pfizer/</a:t>
            </a:r>
            <a:r>
              <a:rPr lang="en-US" sz="2000" dirty="0" err="1">
                <a:latin typeface="Kh Content" panose="02000500000000020004" pitchFamily="2" charset="0"/>
                <a:ea typeface="Calibri" panose="020F0502020204030204" pitchFamily="34" charset="0"/>
                <a:cs typeface="Kh Content" panose="02000500000000020004" pitchFamily="2" charset="0"/>
              </a:rPr>
              <a:t>Comirnaty</a:t>
            </a:r>
            <a:r>
              <a:rPr lang="km-KH" sz="2000" dirty="0">
                <a:latin typeface="Kh Content" panose="02000500000000020004" pitchFamily="2" charset="0"/>
                <a:ea typeface="Calibri" panose="020F0502020204030204" pitchFamily="34" charset="0"/>
                <a:cs typeface="Kh Content" panose="02000500000000020004" pitchFamily="2" charset="0"/>
              </a:rPr>
              <a:t>។</a:t>
            </a:r>
          </a:p>
          <a:p>
            <a:pPr lvl="1">
              <a:lnSpc>
                <a:spcPct val="150000"/>
              </a:lnSpc>
              <a:spcAft>
                <a:spcPts val="1000"/>
              </a:spcAft>
            </a:pPr>
            <a:r>
              <a:rPr lang="fr-CA" sz="20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នុស្សដែល</a:t>
            </a:r>
            <a:r>
              <a:rPr lang="fr-CA" sz="2000" b="1" dirty="0" err="1">
                <a:latin typeface="Kh Content" panose="02000500000000020004" pitchFamily="2" charset="0"/>
                <a:cs typeface="Kh Content" panose="02000500000000020004" pitchFamily="2" charset="0"/>
              </a:rPr>
              <a:t>មិនអាចប្រើអន្ដរបណ្ដាញ</a:t>
            </a:r>
            <a:r>
              <a:rPr lang="fr-CA" sz="2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0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ាចនឹងហៅ</a:t>
            </a:r>
            <a:r>
              <a:rPr lang="fr-CA" sz="2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000" dirty="0" err="1">
                <a:latin typeface="Kh Content" panose="02000500000000020004" pitchFamily="2" charset="0"/>
                <a:cs typeface="Kh Content" panose="02000500000000020004" pitchFamily="2" charset="0"/>
              </a:rPr>
              <a:t>ខ្សែធនធានគ្រោងពេលចាក់វ៉ាក់សាំង</a:t>
            </a:r>
            <a:r>
              <a:rPr lang="fr-CA" sz="2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0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៉ាស្សាជូសេត្ដ</a:t>
            </a:r>
            <a:r>
              <a:rPr lang="fr-CA" sz="2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000" dirty="0">
                <a:latin typeface="Calibri" panose="020F0502020204030204" pitchFamily="34" charset="0"/>
                <a:cs typeface="Calibri" panose="020F0502020204030204" pitchFamily="34" charset="0"/>
              </a:rPr>
              <a:t>(Massachusetts Vaccine </a:t>
            </a:r>
            <a:r>
              <a:rPr lang="fr-CA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Scheduling</a:t>
            </a:r>
            <a:r>
              <a:rPr lang="fr-CA" sz="2000" dirty="0">
                <a:latin typeface="Calibri" panose="020F0502020204030204" pitchFamily="34" charset="0"/>
                <a:cs typeface="Calibri" panose="020F0502020204030204" pitchFamily="34" charset="0"/>
              </a:rPr>
              <a:t> Resource Line)</a:t>
            </a:r>
            <a:r>
              <a:rPr lang="fr-CA" sz="2000" dirty="0">
                <a:latin typeface="Kh Content" panose="02000500000000020004" pitchFamily="2" charset="0"/>
                <a:cs typeface="Kh Content" panose="02000500000000020004" pitchFamily="2" charset="0"/>
              </a:rPr>
              <a:t>៖</a:t>
            </a:r>
            <a:r>
              <a:rPr lang="fr-CA" sz="2000" b="1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000" b="1" dirty="0">
                <a:latin typeface="Calibri" panose="020F0502020204030204" pitchFamily="34" charset="0"/>
                <a:cs typeface="Calibri" panose="020F0502020204030204" pitchFamily="34" charset="0"/>
              </a:rPr>
              <a:t>2-1-1 </a:t>
            </a:r>
            <a:r>
              <a:rPr lang="fr-CA" sz="2000" dirty="0">
                <a:latin typeface="Calibri" panose="020F0502020204030204" pitchFamily="34" charset="0"/>
                <a:cs typeface="Calibri" panose="020F0502020204030204" pitchFamily="34" charset="0"/>
              </a:rPr>
              <a:t>(877-211-6277)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7" name="Picture 6" descr="This image has four pictures, including a computer with the mass.gov website, pins from a map, and a checklist. ">
            <a:extLst>
              <a:ext uri="{FF2B5EF4-FFF2-40B4-BE49-F238E27FC236}">
                <a16:creationId xmlns:a16="http://schemas.microsoft.com/office/drawing/2014/main" id="{EC56C721-BC2A-40D2-9621-95DAF3D021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96178" y="1209803"/>
            <a:ext cx="1747432" cy="4942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54437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97564" y="-153050"/>
            <a:ext cx="11157284" cy="1325563"/>
          </a:xfrm>
        </p:spPr>
        <p:txBody>
          <a:bodyPr>
            <a:normAutofit/>
          </a:bodyPr>
          <a:lstStyle/>
          <a:p>
            <a:r>
              <a:rPr lang="fr-CA" sz="3000" dirty="0" err="1">
                <a:latin typeface="Kh Content" panose="02000500000000020004" pitchFamily="2" charset="0"/>
                <a:cs typeface="Kh Content" panose="02000500000000020004" pitchFamily="2" charset="0"/>
              </a:rPr>
              <a:t>ចុះបើសិនខ្ញុំត្រូវការជំនួយ</a:t>
            </a:r>
            <a:r>
              <a:rPr lang="fr-CA" sz="3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30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្នុងការទៅកន្លែងចាក់វ៉ាក់សាំង</a:t>
            </a:r>
            <a:r>
              <a:rPr lang="fr-CA" sz="3000" dirty="0">
                <a:latin typeface="Kh Content" panose="02000500000000020004" pitchFamily="2" charset="0"/>
                <a:cs typeface="Kh Content" panose="02000500000000020004" pitchFamily="2" charset="0"/>
              </a:rPr>
              <a:t>?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37151" y="1466969"/>
            <a:ext cx="8042657" cy="4803201"/>
          </a:xfrm>
        </p:spPr>
        <p:txBody>
          <a:bodyPr>
            <a:normAutofit fontScale="85000" lnSpcReduction="10000"/>
          </a:bodyPr>
          <a:lstStyle/>
          <a:p>
            <a:pPr>
              <a:lnSpc>
                <a:spcPts val="3400"/>
              </a:lnSpc>
              <a:spcBef>
                <a:spcPts val="600"/>
              </a:spcBef>
            </a:pPr>
            <a:r>
              <a:rPr lang="km-KH" sz="2100" dirty="0">
                <a:latin typeface="Kh Content" panose="02000500000000020004" pitchFamily="2" charset="0"/>
                <a:cs typeface="Kh Content" panose="02000500000000020004" pitchFamily="2" charset="0"/>
              </a:rPr>
              <a:t>ការចាក់ថ្នាំវ៉ាក់សាំងគឹមានជូន​សម្រាប់ជនគ្រប់រូប​ដែលមិនអាចទៅ​ទីកន្លែងចាក់ថ្នាំ</a:t>
            </a:r>
          </a:p>
          <a:p>
            <a:pPr marL="0" indent="0">
              <a:lnSpc>
                <a:spcPts val="3400"/>
              </a:lnSpc>
              <a:spcBef>
                <a:spcPts val="600"/>
              </a:spcBef>
              <a:buNone/>
            </a:pPr>
            <a:r>
              <a:rPr lang="km-KH" sz="2100" dirty="0">
                <a:latin typeface="Kh Content" panose="02000500000000020004" pitchFamily="2" charset="0"/>
                <a:cs typeface="Kh Content" panose="02000500000000020004" pitchFamily="2" charset="0"/>
              </a:rPr>
              <a:t>​​​    វ៉ាក់សាំង សូមទូរស័ព្ទទៅបណ្តាញស៊ើបសួរព័ត៌មាន </a:t>
            </a:r>
            <a:r>
              <a:rPr lang="ca-ES" sz="2100" dirty="0">
                <a:latin typeface="Kh Content" panose="02000500000000020004" pitchFamily="2" charset="0"/>
                <a:cs typeface="Kh Content" panose="02000500000000020004" pitchFamily="2" charset="0"/>
              </a:rPr>
              <a:t>លេខ (833) 983-0485</a:t>
            </a:r>
            <a:r>
              <a:rPr lang="km-KH" sz="2100" dirty="0"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</a:p>
          <a:p>
            <a:pPr>
              <a:lnSpc>
                <a:spcPts val="3400"/>
              </a:lnSpc>
              <a:spcBef>
                <a:spcPts val="600"/>
              </a:spcBef>
            </a:pPr>
            <a:r>
              <a:rPr lang="fr-CA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MassHealth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ផ្ដល់យានជំនិះឥតគិតថ្លៃ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ទៅការណាត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់</a:t>
            </a:r>
            <a:r>
              <a:rPr lang="km-KH" sz="2100" dirty="0">
                <a:latin typeface="Kh Content" panose="02000500000000020004" pitchFamily="2" charset="0"/>
                <a:cs typeface="Kh Content" panose="02000500000000020004" pitchFamily="2" charset="0"/>
              </a:rPr>
              <a:t>ជួប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ចាក់វ៉ាក់សាំង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ំរាប់នរណាម្នាក់ដែលមាន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MassHealth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ឬ </a:t>
            </a:r>
            <a:r>
              <a:rPr lang="fr-CA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Health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CA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afety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 Net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។  </a:t>
            </a:r>
          </a:p>
          <a:p>
            <a:pPr marL="804672" lvl="1" indent="-347472">
              <a:lnSpc>
                <a:spcPts val="3400"/>
              </a:lnSpc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្នកអាចទូរស័ព្ទទៅគំរោងសុខភាពរបស់អ្នក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ឬ </a:t>
            </a:r>
            <a:r>
              <a:rPr lang="fr-CA" dirty="0" err="1">
                <a:latin typeface="Calibri" panose="020F0502020204030204" pitchFamily="34" charset="0"/>
                <a:cs typeface="Calibri" panose="020F0502020204030204" pitchFamily="34" charset="0"/>
              </a:rPr>
              <a:t>MassHealth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លេខ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br>
              <a:rPr lang="km-KH" sz="2100" dirty="0">
                <a:latin typeface="Kh Content" panose="02000500000000020004" pitchFamily="2" charset="0"/>
                <a:cs typeface="Kh Content" panose="02000500000000020004" pitchFamily="2" charset="0"/>
              </a:rPr>
            </a:br>
            <a:r>
              <a:rPr lang="fr-CA" dirty="0">
                <a:latin typeface="Calibri" panose="020F0502020204030204" pitchFamily="34" charset="0"/>
                <a:cs typeface="Calibri" panose="020F0502020204030204" pitchFamily="34" charset="0"/>
              </a:rPr>
              <a:t>800-841-2900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ើម្បីគ្រោងពេល</a:t>
            </a:r>
            <a:endParaRPr lang="fr-CA" sz="21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>
              <a:lnSpc>
                <a:spcPts val="3400"/>
              </a:lnSpc>
              <a:spcBef>
                <a:spcPts val="600"/>
              </a:spcBef>
            </a:pP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LYFT </a:t>
            </a:r>
            <a:r>
              <a:rPr lang="km-KH" sz="2100" dirty="0">
                <a:latin typeface="Kh Content" panose="02000500000000020004" pitchFamily="2" charset="0"/>
                <a:cs typeface="Kh Content" panose="02000500000000020004" pitchFamily="2" charset="0"/>
              </a:rPr>
              <a:t>កំពុងតែផ្តល់ការដឹកជញ្ជូនបញ្ចុះតម្លៃ ឬដោយ​មិន​អស់​លុយ - ទាំងទៅទាំងមកពីការណាត់ជួបចាក់ថ្នាំវ៉ាក់សាំង</a:t>
            </a:r>
            <a:endParaRPr lang="en-US" sz="21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>
              <a:lnSpc>
                <a:spcPts val="3400"/>
              </a:lnSpc>
              <a:spcBef>
                <a:spcPts val="600"/>
              </a:spcBef>
            </a:pPr>
            <a:r>
              <a:rPr lang="km-KH" sz="2100" dirty="0">
                <a:latin typeface="Kh Content" panose="02000500000000020004" pitchFamily="2" charset="0"/>
                <a:cs typeface="Kh Content" panose="02000500000000020004" pitchFamily="2" charset="0"/>
              </a:rPr>
              <a:t>អង្គការជាច្រើនដូចជា​និយោជក សាលារៀន និង​សហមន៍ និង​អង្គការខាងជំនឿសាសនាអាចស្នើសុំគ្លីនិកចល័ត និងមកដល់កន្លែង ដើម្បីចាក់ថ្នាំវ៉ាក់សាំងបុគ្គលនានា។</a:t>
            </a:r>
            <a:endParaRPr lang="fr-CA" sz="21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2400" dirty="0"/>
          </a:p>
        </p:txBody>
      </p:sp>
      <p:pic>
        <p:nvPicPr>
          <p:cNvPr id="7" name="Content Placeholder 12" descr="Side of a bus that reads &quot;COVID-19 Mobile Vaccination Unit&quot;">
            <a:extLst>
              <a:ext uri="{FF2B5EF4-FFF2-40B4-BE49-F238E27FC236}">
                <a16:creationId xmlns:a16="http://schemas.microsoft.com/office/drawing/2014/main" id="{B060E170-CE7D-401C-8B2B-00338817CC86}"/>
              </a:ext>
            </a:extLst>
          </p:cNvPr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5574"/>
          <a:stretch/>
        </p:blipFill>
        <p:spPr>
          <a:xfrm>
            <a:off x="8438866" y="1273038"/>
            <a:ext cx="3136833" cy="4590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480121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C196E34-67BE-44FC-8877-1C87128A9C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9D0EE-DE7F-324B-A84C-F36708423CDB}" type="slidenum">
              <a:rPr lang="en-US" sz="1000" smtClean="0">
                <a:solidFill>
                  <a:srgbClr val="464646">
                    <a:lumMod val="40000"/>
                    <a:lumOff val="6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26</a:t>
            </a:fld>
            <a:endParaRPr lang="en-US" sz="1000">
              <a:solidFill>
                <a:srgbClr val="464646">
                  <a:lumMod val="40000"/>
                  <a:lumOff val="60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738515A-DC24-4FF1-85F9-68F50ED8147F}"/>
              </a:ext>
            </a:extLst>
          </p:cNvPr>
          <p:cNvSpPr txBox="1"/>
          <p:nvPr/>
        </p:nvSpPr>
        <p:spPr>
          <a:xfrm>
            <a:off x="178625" y="337169"/>
            <a:ext cx="11314323" cy="46166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fr-CA" sz="3000" dirty="0" err="1">
                <a:latin typeface="Kh Content" panose="02000500000000020004" pitchFamily="2" charset="0"/>
                <a:cs typeface="Kh Content" panose="02000500000000020004" pitchFamily="2" charset="0"/>
              </a:rPr>
              <a:t>តើខ្ញុំនឹងត្រូវបង់ប្រាក</a:t>
            </a:r>
            <a:r>
              <a:rPr lang="fr-CA" sz="30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30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ំរាប់វ៉ាក់សាំងឬទេ</a:t>
            </a:r>
            <a:r>
              <a:rPr lang="fr-CA" sz="3000" dirty="0">
                <a:latin typeface="Kh Content" panose="02000500000000020004" pitchFamily="2" charset="0"/>
                <a:cs typeface="Kh Content" panose="02000500000000020004" pitchFamily="2" charset="0"/>
              </a:rPr>
              <a:t>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069143-FE01-453C-934A-DAA4862AED31}"/>
              </a:ext>
            </a:extLst>
          </p:cNvPr>
          <p:cNvSpPr/>
          <p:nvPr/>
        </p:nvSpPr>
        <p:spPr>
          <a:xfrm>
            <a:off x="478571" y="1175762"/>
            <a:ext cx="10869786" cy="4939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lnSpc>
                <a:spcPts val="3400"/>
              </a:lnSpc>
              <a:buFont typeface="Arial" panose="020B0604020202020204" pitchFamily="34" charset="0"/>
              <a:buChar char="•"/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ទេ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៉ាក់សាំង</a:t>
            </a:r>
            <a:r>
              <a:rPr lang="km-KH" sz="2100" dirty="0">
                <a:latin typeface="Kh Content" panose="02000500000000020004" pitchFamily="2" charset="0"/>
                <a:cs typeface="Kh Content" panose="02000500000000020004" pitchFamily="2" charset="0"/>
              </a:rPr>
              <a:t> (រួមទាំងដូសជំរុញ)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គឺ</a:t>
            </a:r>
            <a:r>
              <a:rPr lang="fr-CA" sz="2100" b="1" dirty="0" err="1">
                <a:latin typeface="Kh Content" panose="02000500000000020004" pitchFamily="2" charset="0"/>
                <a:cs typeface="Kh Content" panose="02000500000000020004" pitchFamily="2" charset="0"/>
              </a:rPr>
              <a:t>ឥតគិតថ្លៃ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ំរាប់អ្នកមូលដ្ឋានទាំងអស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ៅរដ្ឋម៉ាស្សាជូសេត្ដ</a:t>
            </a:r>
            <a:r>
              <a:rPr lang="km-KH" sz="2100" dirty="0">
                <a:latin typeface="Kh Content" panose="02000500000000020004" pitchFamily="2" charset="0"/>
                <a:cs typeface="Kh Content" panose="02000500000000020004" pitchFamily="2" charset="0"/>
              </a:rPr>
              <a:t>​​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</a:p>
          <a:p>
            <a:pPr marL="800100" lvl="1" indent="-342900">
              <a:lnSpc>
                <a:spcPts val="3400"/>
              </a:lnSpc>
              <a:buFont typeface="Courier New" panose="02070309020205020404" pitchFamily="49" charset="0"/>
              <a:buChar char="o"/>
            </a:pPr>
            <a:endParaRPr lang="en-US" sz="21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marL="800100" lvl="1" indent="-342900">
              <a:lnSpc>
                <a:spcPts val="3400"/>
              </a:lnSpc>
              <a:buFont typeface="Courier New" panose="02070309020205020404" pitchFamily="49" charset="0"/>
              <a:buChar char="o"/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្នកនឹងមិនដែលបានសួរ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រកលេខប័ណ្ណឥណទាន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ើម្បីធ្វើការណាត់ជួបឡើយ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</a:p>
          <a:p>
            <a:pPr marL="800100" lvl="1" indent="-342900">
              <a:lnSpc>
                <a:spcPts val="3400"/>
              </a:lnSpc>
              <a:buFont typeface="Courier New" panose="02070309020205020404" pitchFamily="49" charset="0"/>
              <a:buChar char="o"/>
            </a:pPr>
            <a:endParaRPr lang="en-US" sz="21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marL="800100" lvl="1" indent="-342900">
              <a:lnSpc>
                <a:spcPts val="3800"/>
              </a:lnSpc>
              <a:buFont typeface="Courier New" panose="02070309020205020404" pitchFamily="49" charset="0"/>
              <a:buChar char="o"/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្នកអាចទទួលវ៉ាក់សាំងបាន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ូម្បីតែបើសិនអ្នក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                                                                          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ពុំមានការធានារ៉ាប់រង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,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លិខិតបើកបរ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, </a:t>
            </a:r>
          </a:p>
          <a:p>
            <a:pPr lvl="1">
              <a:lnSpc>
                <a:spcPts val="3800"/>
              </a:lnSpc>
            </a:pP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   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ឬលេខសូស្យ៉ាល់សឹគ្យួរិទី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  <a:br>
              <a:rPr lang="fr-CA" sz="2400" dirty="0">
                <a:latin typeface="Kh Content" panose="020F0502020204030204" pitchFamily="34" charset="0"/>
                <a:cs typeface="Calibri" panose="020F0502020204030204" pitchFamily="34" charset="0"/>
              </a:rPr>
            </a:br>
            <a:endParaRPr lang="fr-CA" sz="2400" dirty="0">
              <a:latin typeface="Kh Content" panose="020F0502020204030204" pitchFamily="34" charset="0"/>
              <a:cs typeface="Calibri" panose="020F0502020204030204" pitchFamily="34" charset="0"/>
            </a:endParaRPr>
          </a:p>
          <a:p>
            <a:pPr marL="800100" lvl="1" indent="-342900">
              <a:buFont typeface="Courier New" panose="02070309020205020404" pitchFamily="49" charset="0"/>
              <a:buChar char="o"/>
            </a:pPr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Arial"/>
              <a:buChar char="•"/>
            </a:pPr>
            <a:endParaRPr lang="en-US" sz="2200" b="1" dirty="0"/>
          </a:p>
        </p:txBody>
      </p:sp>
      <p:pic>
        <p:nvPicPr>
          <p:cNvPr id="7" name="Google Shape;563;p19" descr="Group of people wearing masks">
            <a:extLst>
              <a:ext uri="{FF2B5EF4-FFF2-40B4-BE49-F238E27FC236}">
                <a16:creationId xmlns:a16="http://schemas.microsoft.com/office/drawing/2014/main" id="{FBD1468A-49C7-4C55-8901-9A6A290702A6}"/>
              </a:ext>
            </a:extLst>
          </p:cNvPr>
          <p:cNvPicPr preferRelativeResize="0"/>
          <p:nvPr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73497" y="2860766"/>
            <a:ext cx="5000640" cy="364480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7839267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C196E34-67BE-44FC-8877-1C87128A9C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9D0EE-DE7F-324B-A84C-F36708423CDB}" type="slidenum">
              <a:rPr lang="en-US" sz="1000" smtClean="0">
                <a:solidFill>
                  <a:srgbClr val="464646">
                    <a:lumMod val="40000"/>
                    <a:lumOff val="6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27</a:t>
            </a:fld>
            <a:endParaRPr lang="en-US" sz="1000">
              <a:solidFill>
                <a:srgbClr val="464646">
                  <a:lumMod val="40000"/>
                  <a:lumOff val="60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738515A-DC24-4FF1-85F9-68F50ED8147F}"/>
              </a:ext>
            </a:extLst>
          </p:cNvPr>
          <p:cNvSpPr txBox="1"/>
          <p:nvPr/>
        </p:nvSpPr>
        <p:spPr>
          <a:xfrm>
            <a:off x="177154" y="257461"/>
            <a:ext cx="11959771" cy="44627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fr-CA" sz="2900" dirty="0" err="1">
                <a:latin typeface="Kh Content" panose="02000500000000020004" pitchFamily="2" charset="0"/>
                <a:cs typeface="Kh Content" panose="02000500000000020004" pitchFamily="2" charset="0"/>
              </a:rPr>
              <a:t>តើការទទួលវ៉ាក់សាំង</a:t>
            </a:r>
            <a:r>
              <a:rPr lang="fr-CA" sz="29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9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ឹងមានឥទ្ធិពលលើស្ថានភាពអន្ដោប្រវេសន</a:t>
            </a:r>
            <a:r>
              <a:rPr lang="fr-CA" sz="2900" dirty="0">
                <a:latin typeface="Kh Content" panose="02000500000000020004" pitchFamily="2" charset="0"/>
                <a:cs typeface="Kh Content" panose="02000500000000020004" pitchFamily="2" charset="0"/>
              </a:rPr>
              <a:t>៍ </a:t>
            </a:r>
            <a:r>
              <a:rPr lang="fr-CA" sz="2900" dirty="0" err="1">
                <a:latin typeface="Kh Content" panose="02000500000000020004" pitchFamily="2" charset="0"/>
                <a:cs typeface="Kh Content" panose="02000500000000020004" pitchFamily="2" charset="0"/>
              </a:rPr>
              <a:t>របស់មនុស្សឬទេ</a:t>
            </a:r>
            <a:r>
              <a:rPr lang="fr-CA" sz="2900" dirty="0">
                <a:latin typeface="Kh Content" panose="02000500000000020004" pitchFamily="2" charset="0"/>
                <a:cs typeface="Kh Content" panose="02000500000000020004" pitchFamily="2" charset="0"/>
              </a:rPr>
              <a:t>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069143-FE01-453C-934A-DAA4862AED31}"/>
              </a:ext>
            </a:extLst>
          </p:cNvPr>
          <p:cNvSpPr/>
          <p:nvPr/>
        </p:nvSpPr>
        <p:spPr>
          <a:xfrm>
            <a:off x="478571" y="1241077"/>
            <a:ext cx="11356939" cy="50937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CA" sz="2400" u="sng" dirty="0">
                <a:latin typeface="Kh Content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342900" indent="-342900">
              <a:lnSpc>
                <a:spcPts val="36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ទេ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ារទទួលវ៉ាក់សាំង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ឹងមិនប្ដូរថាតើអ្នកអាច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ឬមិនអាចនៅក្នុងសហរដ្ឋ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ទទួលប័ណ្ណខៀវ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ឬទទួល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              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ត្ថប្រយោជន៍សាធារណៈ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ូចជា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ទីលំនៅ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ឬ 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SNAP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ឡើយ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100" b="1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marL="342900" lvl="0" indent="-342900">
              <a:lnSpc>
                <a:spcPts val="36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CA" sz="2100" b="1" dirty="0" err="1">
                <a:latin typeface="Kh Content" panose="02000500000000020004" pitchFamily="2" charset="0"/>
                <a:cs typeface="Kh Content" panose="02000500000000020004" pitchFamily="2" charset="0"/>
              </a:rPr>
              <a:t>ទោះបើស្ថានភាពអន្ដោប្រវេសន៍របស់អ្នកជាយ៉ាងណាក្ដី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ាជាសារៈសំខាន់សំរាប់អ្នក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គ្រួសាររបស់អ្នក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             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ឲ្យបានសុខស្បាយពី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។   </a:t>
            </a:r>
          </a:p>
          <a:p>
            <a:pPr marL="342900" lvl="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100" b="1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marL="342900" indent="-342900">
              <a:lnSpc>
                <a:spcPts val="36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្នកអាចទទួលវ៉ាក់សាំងបាន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ូម្បីតែបើអ្នកពុំមាន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ារធានារ៉ាប់រង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លិខិតបើកបរ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ឬក៏សូស្យាល់សឹគ្យួរិទី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                  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៏ដោយ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91028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C196E34-67BE-44FC-8877-1C87128A9C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9D0EE-DE7F-324B-A84C-F36708423CDB}" type="slidenum">
              <a:rPr lang="en-US" sz="1000" smtClean="0">
                <a:solidFill>
                  <a:srgbClr val="464646">
                    <a:lumMod val="40000"/>
                    <a:lumOff val="6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28</a:t>
            </a:fld>
            <a:endParaRPr lang="en-US" sz="1000">
              <a:solidFill>
                <a:srgbClr val="464646">
                  <a:lumMod val="40000"/>
                  <a:lumOff val="60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738515A-DC24-4FF1-85F9-68F50ED8147F}"/>
              </a:ext>
            </a:extLst>
          </p:cNvPr>
          <p:cNvSpPr txBox="1"/>
          <p:nvPr/>
        </p:nvSpPr>
        <p:spPr>
          <a:xfrm>
            <a:off x="178625" y="253036"/>
            <a:ext cx="11314323" cy="52322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fr-CA" sz="3000">
                <a:latin typeface="Kh Content" panose="02000500000000020004" pitchFamily="2" charset="0"/>
                <a:cs typeface="Kh Content" panose="02000500000000020004" pitchFamily="2" charset="0"/>
              </a:rPr>
              <a:t>តើខ្ញុំគួរតែធ្វើអ្វី បើសិនខ្ញុំមានរោគសញ្ញា បន្ទាប់ពីទទួលវ៉ាក់សាំង </a:t>
            </a:r>
            <a:r>
              <a:rPr lang="fr-CA" sz="340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3000">
                <a:latin typeface="Kh Content" panose="02000500000000020004" pitchFamily="2" charset="0"/>
                <a:cs typeface="Kh Content" panose="02000500000000020004" pitchFamily="2" charset="0"/>
              </a:rPr>
              <a:t>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069143-FE01-453C-934A-DAA4862AED31}"/>
              </a:ext>
            </a:extLst>
          </p:cNvPr>
          <p:cNvSpPr/>
          <p:nvPr/>
        </p:nvSpPr>
        <p:spPr>
          <a:xfrm>
            <a:off x="478570" y="1129793"/>
            <a:ext cx="7629109" cy="53963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lnSpc>
                <a:spcPts val="3400"/>
              </a:lnSpc>
              <a:buFont typeface="Arial" panose="020B0604020202020204" pitchFamily="34" charset="0"/>
              <a:buChar char="•"/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ើសិនអ្នកមានឈឺខ្លាំង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ឬមិនស្រួល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យាយទៅកាន់អ្នកផ្ដល់ការថែទាំសុខភាពរបស់អ្នក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</a:p>
          <a:p>
            <a:pPr marL="342900" indent="-342900">
              <a:lnSpc>
                <a:spcPts val="3400"/>
              </a:lnSpc>
              <a:buFont typeface="Arial" panose="020B0604020202020204" pitchFamily="34" charset="0"/>
              <a:buChar char="•"/>
            </a:pPr>
            <a:endParaRPr lang="en-US" sz="21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marL="342900" indent="-342900">
              <a:lnSpc>
                <a:spcPts val="3400"/>
              </a:lnSpc>
              <a:buFont typeface="Arial" panose="020B0604020202020204" pitchFamily="34" charset="0"/>
              <a:buChar char="•"/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ើសិនអ្នកពុំមានវេជ្ជបណ្ឌិតថែទាំសុខភាពទេ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ឬប្រាថ្នាចង់រាយការណ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៍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ឥទ្ធិពលរាយរងអ្វីមួយទៅ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CDC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ទស្សនា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400" b="1" dirty="0">
                <a:latin typeface="Calibri" panose="020F0502020204030204" pitchFamily="34" charset="0"/>
                <a:cs typeface="Calibri" panose="020F0502020204030204" pitchFamily="34" charset="0"/>
              </a:rPr>
              <a:t>cdc.gov/</a:t>
            </a:r>
            <a:r>
              <a:rPr lang="fr-CA" sz="2400" b="1" dirty="0" err="1">
                <a:latin typeface="Calibri" panose="020F0502020204030204" pitchFamily="34" charset="0"/>
                <a:cs typeface="Calibri" panose="020F0502020204030204" pitchFamily="34" charset="0"/>
              </a:rPr>
              <a:t>vsafe</a:t>
            </a:r>
            <a:r>
              <a:rPr lang="fr-CA" sz="2400" b="1" dirty="0"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</a:p>
          <a:p>
            <a:pPr marL="342900" indent="-342900">
              <a:lnSpc>
                <a:spcPts val="3400"/>
              </a:lnSpc>
              <a:buFont typeface="Arial" panose="020B0604020202020204" pitchFamily="34" charset="0"/>
              <a:buChar char="•"/>
            </a:pPr>
            <a:endParaRPr lang="en-US" sz="2100" b="1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marL="342900" indent="-342900">
              <a:lnSpc>
                <a:spcPts val="3800"/>
              </a:lnSpc>
              <a:buFont typeface="Arial" panose="020B0604020202020204" pitchFamily="34" charset="0"/>
              <a:buChar char="•"/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្នកអាចប្រើ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v-</a:t>
            </a:r>
            <a:r>
              <a:rPr lang="fr-CA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afe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លើទូរស័ព្ទទំនើប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ើម្បីប្រាប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CDC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ភ្លាម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ៗ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ើសិនអ្នកមានឥទ្ធិពលរាយរងអ្វីមួយ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ន្ទាប់ពីទទួលវ៉ាក់សាំង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 COVID-19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ទទួលការឆែកមើលសុខភាពរៀងៗខ្លួន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ន្ទាប់ពីអ្នកទទួលការ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           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ចាក់វ៉ាក់សាំង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។ 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Picture 5" descr="This image is this logo of CDC's v-safe after vaccination health checker.">
            <a:extLst>
              <a:ext uri="{FF2B5EF4-FFF2-40B4-BE49-F238E27FC236}">
                <a16:creationId xmlns:a16="http://schemas.microsoft.com/office/drawing/2014/main" id="{4BA750C1-1905-4717-A3CA-D5198463D2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54473" y="1980684"/>
            <a:ext cx="3038475" cy="3343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09419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C196E34-67BE-44FC-8877-1C87128A9C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9D0EE-DE7F-324B-A84C-F36708423CDB}" type="slidenum">
              <a:rPr lang="en-US" sz="1000" smtClean="0">
                <a:solidFill>
                  <a:srgbClr val="464646">
                    <a:lumMod val="40000"/>
                    <a:lumOff val="6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29</a:t>
            </a:fld>
            <a:endParaRPr lang="en-US" sz="1000">
              <a:solidFill>
                <a:srgbClr val="464646">
                  <a:lumMod val="40000"/>
                  <a:lumOff val="60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738515A-DC24-4FF1-85F9-68F50ED8147F}"/>
              </a:ext>
            </a:extLst>
          </p:cNvPr>
          <p:cNvSpPr txBox="1"/>
          <p:nvPr/>
        </p:nvSpPr>
        <p:spPr>
          <a:xfrm>
            <a:off x="178626" y="100156"/>
            <a:ext cx="11314323" cy="58990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>
              <a:lnSpc>
                <a:spcPts val="4600"/>
              </a:lnSpc>
            </a:pPr>
            <a:r>
              <a:rPr lang="fr-CA" sz="2400">
                <a:latin typeface="Kh Content" panose="02000500000000020004" pitchFamily="2" charset="0"/>
                <a:cs typeface="Kh Content" panose="02000500000000020004" pitchFamily="2" charset="0"/>
              </a:rPr>
              <a:t>តើវាមានប្រសិទ្ធិភាពយូរប៉ុណ្ណា បន្ទាប់ពីទទួលវ៉ាក់សាំង </a:t>
            </a:r>
            <a:r>
              <a:rPr lang="fr-CA" sz="280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2400">
                <a:latin typeface="Kh Content" panose="02000500000000020004" pitchFamily="2" charset="0"/>
                <a:cs typeface="Kh Content" panose="02000500000000020004" pitchFamily="2" charset="0"/>
              </a:rPr>
              <a:t>? តើវាបានយូរប៉ុណ្ណា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069143-FE01-453C-934A-DAA4862AED31}"/>
              </a:ext>
            </a:extLst>
          </p:cNvPr>
          <p:cNvSpPr/>
          <p:nvPr/>
        </p:nvSpPr>
        <p:spPr>
          <a:xfrm>
            <a:off x="478571" y="1319005"/>
            <a:ext cx="11356939" cy="46063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ts val="3400"/>
              </a:lnSpc>
              <a:buFont typeface="Arial" panose="020B0604020202020204" pitchFamily="34" charset="0"/>
              <a:buChar char="•"/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តាមធម្មតា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ាប្រើពេលពីរបីអាទិត្យ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ំរាប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់</a:t>
            </a:r>
            <a:r>
              <a:rPr lang="km-KH" sz="2100" dirty="0">
                <a:latin typeface="Kh Content" panose="02000500000000020004" pitchFamily="2" charset="0"/>
                <a:cs typeface="Kh Content" panose="02000500000000020004" pitchFamily="2" charset="0"/>
              </a:rPr>
              <a:t>ខ្លួន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ង្កើតភាពស៊ាំរោគ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ន្ទាប់ពីការចាក់វ៉ាក់សាំង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</a:p>
          <a:p>
            <a:pPr marL="342900" indent="-342900">
              <a:lnSpc>
                <a:spcPts val="3400"/>
              </a:lnSpc>
              <a:buFont typeface="Arial" panose="020B0604020202020204" pitchFamily="34" charset="0"/>
              <a:buChar char="•"/>
            </a:pPr>
            <a:endParaRPr lang="en-US" sz="21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marL="342900" indent="-342900">
              <a:lnSpc>
                <a:spcPts val="3800"/>
              </a:lnSpc>
              <a:buFont typeface="Arial" panose="020B0604020202020204" pitchFamily="34" charset="0"/>
              <a:buChar char="•"/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ាមានសេចក្ដីថា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នុស្សអាចនឹងបានឆ្លងរោគ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ជាមួយនឹងវីរុសដែលបណ្ដាលឲ្យមាន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ភ្លាមៗមុន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ឬភ្លាម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ៗ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ន្ទាប់ពីចាក់វ៉ាក់សាំង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ហើយនៅតែអាចឈឺថ្កាត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់។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េះគឺពីព្រោះតែវ៉ាក់សាំង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ិនទាន់មានពេល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              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គ្រប់គ្រាន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ើម្បីផ្ដល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់</a:t>
            </a:r>
            <a:r>
              <a:rPr lang="km-KH" sz="2100" dirty="0">
                <a:latin typeface="Kh Content" panose="02000500000000020004" pitchFamily="2" charset="0"/>
                <a:cs typeface="Kh Content" panose="02000500000000020004" pitchFamily="2" charset="0"/>
              </a:rPr>
              <a:t>ការការ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ពារ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ៅឡើយ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</a:p>
          <a:p>
            <a:pPr marL="342900" indent="-342900">
              <a:lnSpc>
                <a:spcPts val="3400"/>
              </a:lnSpc>
              <a:buFont typeface="Arial" panose="020B0604020202020204" pitchFamily="34" charset="0"/>
              <a:buChar char="•"/>
            </a:pPr>
            <a:endParaRPr lang="en-US" sz="21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marL="342900" indent="-342900">
              <a:lnSpc>
                <a:spcPts val="3400"/>
              </a:lnSpc>
              <a:buFont typeface="Arial" panose="020B0604020202020204" pitchFamily="34" charset="0"/>
              <a:buChar char="•"/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យើងមិនដឹងថាវ៉ាក់សាំង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ឹងផ្ដល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់</a:t>
            </a:r>
            <a:r>
              <a:rPr lang="km-KH" sz="2100" dirty="0">
                <a:latin typeface="Kh Content" panose="02000500000000020004" pitchFamily="2" charset="0"/>
                <a:cs typeface="Kh Content" panose="02000500000000020004" pitchFamily="2" charset="0"/>
              </a:rPr>
              <a:t>ការការ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ពារយូរប៉ុណ្ណាទេ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r>
              <a:rPr lang="km-KH" sz="2100" dirty="0">
                <a:latin typeface="Kh Content" panose="02000500000000020004" pitchFamily="2" charset="0"/>
                <a:cs typeface="Kh Content" panose="02000500000000020004" pitchFamily="2" charset="0"/>
              </a:rPr>
              <a:t>ការសិក្សា​ថ្មីៗ​បង្ហាញ​ថា​ ការការពារ​​ប្រឆាំង​នឹង​ជំងឺ​វីរុស​នេះ​​អាចនឹង​ថយចុះ​បន្តិចម្តង​ៗ។ នេះ​ជា​មូលហេតុដែល​មជ្ឈមណ្ឌល​ </a:t>
            </a:r>
            <a:r>
              <a:rPr lang="en-US" sz="2100" dirty="0">
                <a:latin typeface="Kh Content" panose="02000500000000020004" pitchFamily="2" charset="0"/>
                <a:cs typeface="Kh Content" panose="02000500000000020004" pitchFamily="2" charset="0"/>
              </a:rPr>
              <a:t>CDC</a:t>
            </a:r>
            <a:r>
              <a:rPr lang="km-KH" sz="2100" dirty="0">
                <a:latin typeface="Kh Content" panose="02000500000000020004" pitchFamily="2" charset="0"/>
                <a:cs typeface="Kh Content" panose="02000500000000020004" pitchFamily="2" charset="0"/>
              </a:rPr>
              <a:t> ណែនាំ​ឲ្យ​ក្រុមមនុស្ស​មួយចំនួន​ទទួល​វ៉ាក់សាំង​ដូស​ជំរុញ​។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 </a:t>
            </a:r>
          </a:p>
          <a:p>
            <a:pPr>
              <a:lnSpc>
                <a:spcPts val="3400"/>
              </a:lnSpc>
            </a:pPr>
            <a:endParaRPr lang="en-US" sz="2100" dirty="0">
              <a:latin typeface="Kh Content" panose="02000500000000020004" pitchFamily="2" charset="0"/>
              <a:cs typeface="Kh Content" panose="02000500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49245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EB489F-C3F8-44C1-9BB9-00F5D6FE80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5936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fr-CA" sz="3000" b="1" dirty="0" err="1">
                <a:latin typeface="Kh Content" panose="02000500000000020004" pitchFamily="2" charset="0"/>
                <a:cs typeface="Kh Content" panose="02000500000000020004" pitchFamily="2" charset="0"/>
              </a:rPr>
              <a:t>របៀបស្នើសុំទូត</a:t>
            </a:r>
            <a:r>
              <a:rPr lang="fr-CA" sz="3000" b="1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km-KH" sz="3000" b="1" dirty="0">
                <a:latin typeface="Kh Content" panose="02000500000000020004" pitchFamily="2" charset="0"/>
                <a:cs typeface="Kh Content" panose="02000500000000020004" pitchFamily="2" charset="0"/>
              </a:rPr>
              <a:t>វ៉ាក់សាំង </a:t>
            </a:r>
            <a:r>
              <a:rPr lang="fr-CA" sz="3000" b="1" dirty="0">
                <a:latin typeface="Kh Content" panose="02000500000000020004" pitchFamily="2" charset="0"/>
                <a:cs typeface="Kh Content" panose="02000500000000020004" pitchFamily="2" charset="0"/>
              </a:rPr>
              <a:t>DP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40ACD5-A597-48EA-981B-26A084A0EC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3338" y="1164906"/>
            <a:ext cx="11343861" cy="5347901"/>
          </a:xfrm>
        </p:spPr>
        <p:txBody>
          <a:bodyPr>
            <a:normAutofit/>
          </a:bodyPr>
          <a:lstStyle/>
          <a:p>
            <a:pPr>
              <a:lnSpc>
                <a:spcPts val="3000"/>
              </a:lnSpc>
            </a:pPr>
            <a:r>
              <a:rPr lang="fr-CA" sz="1800" dirty="0" err="1">
                <a:latin typeface="+mj-lt"/>
              </a:rPr>
              <a:t>អ្នកអាចស្នើសុំទូតវ៉ាក់សាំង</a:t>
            </a:r>
            <a:r>
              <a:rPr lang="fr-CA" sz="1800" dirty="0">
                <a:latin typeface="+mj-lt"/>
              </a:rPr>
              <a:t> </a:t>
            </a:r>
            <a:r>
              <a:rPr lang="fr-CA" sz="2100" dirty="0">
                <a:latin typeface="+mj-lt"/>
              </a:rPr>
              <a:t>DPH COVID-19</a:t>
            </a:r>
            <a:r>
              <a:rPr lang="fr-CA" sz="1800" dirty="0">
                <a:latin typeface="+mj-lt"/>
              </a:rPr>
              <a:t> </a:t>
            </a:r>
            <a:r>
              <a:rPr lang="fr-CA" sz="1800" dirty="0" err="1">
                <a:latin typeface="+mj-lt"/>
              </a:rPr>
              <a:t>ឲ្យមកចូលរួមវេទិកាសហគមន៍របស់អ្នក</a:t>
            </a:r>
            <a:r>
              <a:rPr lang="fr-CA" sz="1800" dirty="0">
                <a:latin typeface="+mj-lt"/>
              </a:rPr>
              <a:t>។ </a:t>
            </a:r>
            <a:r>
              <a:rPr lang="fr-CA" sz="1800" dirty="0" err="1">
                <a:latin typeface="+mj-lt"/>
              </a:rPr>
              <a:t>ទូតមិនចាំបាច់ជាអ្នកជំនាញខាង</a:t>
            </a:r>
            <a:endParaRPr lang="km-KH" sz="1800" dirty="0">
              <a:latin typeface="+mj-lt"/>
            </a:endParaRPr>
          </a:p>
          <a:p>
            <a:pPr marL="0" indent="0">
              <a:lnSpc>
                <a:spcPts val="3000"/>
              </a:lnSpc>
              <a:buNone/>
            </a:pPr>
            <a:r>
              <a:rPr lang="km-KH" sz="1800" dirty="0">
                <a:latin typeface="+mj-lt"/>
              </a:rPr>
              <a:t>​​​    </a:t>
            </a:r>
            <a:r>
              <a:rPr lang="fr-CA" sz="1800" dirty="0" err="1">
                <a:latin typeface="+mj-lt"/>
              </a:rPr>
              <a:t>វ៉ាក់សាំង</a:t>
            </a:r>
            <a:r>
              <a:rPr lang="fr-CA" sz="1800" dirty="0">
                <a:latin typeface="+mj-lt"/>
              </a:rPr>
              <a:t> </a:t>
            </a:r>
            <a:r>
              <a:rPr lang="fr-CA" sz="1800" dirty="0" err="1">
                <a:latin typeface="+mj-lt"/>
              </a:rPr>
              <a:t>ឬអ្នកព្យាបាលទេ</a:t>
            </a:r>
            <a:r>
              <a:rPr lang="fr-CA" sz="1800" dirty="0">
                <a:latin typeface="+mj-lt"/>
              </a:rPr>
              <a:t> </a:t>
            </a:r>
            <a:r>
              <a:rPr lang="fr-CA" sz="1800" dirty="0" err="1">
                <a:latin typeface="+mj-lt"/>
              </a:rPr>
              <a:t>ប៉ុន្ដែជាអ្នកវិជ្ជាជីវៈសុខភាពសាធារណៈ</a:t>
            </a:r>
            <a:r>
              <a:rPr lang="fr-CA" sz="1800" dirty="0">
                <a:latin typeface="+mj-lt"/>
              </a:rPr>
              <a:t> </a:t>
            </a:r>
            <a:r>
              <a:rPr lang="fr-CA" sz="1800" dirty="0" err="1">
                <a:latin typeface="+mj-lt"/>
              </a:rPr>
              <a:t>ដោយមានបទពិសោធន</a:t>
            </a:r>
            <a:r>
              <a:rPr lang="fr-CA" sz="1800" dirty="0">
                <a:latin typeface="+mj-lt"/>
              </a:rPr>
              <a:t>៍ </a:t>
            </a:r>
            <a:r>
              <a:rPr lang="km-KH" sz="1800" dirty="0">
                <a:latin typeface="+mj-lt"/>
              </a:rPr>
              <a:t>តាមកន្លែង</a:t>
            </a:r>
            <a:r>
              <a:rPr lang="fr-CA" sz="1800" dirty="0" err="1">
                <a:latin typeface="+mj-lt"/>
              </a:rPr>
              <a:t>សហគមន</a:t>
            </a:r>
            <a:r>
              <a:rPr lang="fr-CA" sz="1800" dirty="0">
                <a:latin typeface="+mj-lt"/>
              </a:rPr>
              <a:t>៍។</a:t>
            </a:r>
          </a:p>
          <a:p>
            <a:pPr>
              <a:lnSpc>
                <a:spcPts val="3000"/>
              </a:lnSpc>
            </a:pPr>
            <a:r>
              <a:rPr lang="fr-CA" sz="1800" dirty="0" err="1">
                <a:latin typeface="+mj-lt"/>
              </a:rPr>
              <a:t>ទូត</a:t>
            </a:r>
            <a:r>
              <a:rPr lang="km-KH" sz="1800" dirty="0">
                <a:latin typeface="+mj-lt"/>
              </a:rPr>
              <a:t> </a:t>
            </a:r>
            <a:r>
              <a:rPr lang="fr-CA" sz="1800" dirty="0" err="1">
                <a:latin typeface="+mj-lt"/>
              </a:rPr>
              <a:t>អាចនិយាយ</a:t>
            </a:r>
            <a:r>
              <a:rPr lang="fr-CA" sz="1800" dirty="0">
                <a:latin typeface="+mj-lt"/>
              </a:rPr>
              <a:t> </a:t>
            </a:r>
            <a:r>
              <a:rPr lang="fr-CA" sz="1800" dirty="0" err="1">
                <a:latin typeface="+mj-lt"/>
              </a:rPr>
              <a:t>ឆ្លើយសំណួរ</a:t>
            </a:r>
            <a:r>
              <a:rPr lang="fr-CA" sz="1800" dirty="0">
                <a:latin typeface="+mj-lt"/>
              </a:rPr>
              <a:t> </a:t>
            </a:r>
            <a:r>
              <a:rPr lang="fr-CA" sz="1800" dirty="0" err="1">
                <a:latin typeface="+mj-lt"/>
              </a:rPr>
              <a:t>ឬស្ថាប់មតិតបរបស់អ្នក</a:t>
            </a:r>
            <a:r>
              <a:rPr lang="fr-CA" sz="1800" dirty="0">
                <a:latin typeface="+mj-lt"/>
              </a:rPr>
              <a:t> </a:t>
            </a:r>
            <a:r>
              <a:rPr lang="fr-CA" sz="1800" dirty="0" err="1">
                <a:latin typeface="+mj-lt"/>
              </a:rPr>
              <a:t>ដើម្បីចែកចាយជាមួយ</a:t>
            </a:r>
            <a:r>
              <a:rPr lang="fr-CA" sz="1800" dirty="0">
                <a:latin typeface="+mj-lt"/>
              </a:rPr>
              <a:t> </a:t>
            </a:r>
            <a:r>
              <a:rPr lang="fr-CA" sz="2100" dirty="0">
                <a:latin typeface="+mj-lt"/>
              </a:rPr>
              <a:t>DPH</a:t>
            </a:r>
            <a:r>
              <a:rPr lang="fr-CA" sz="1800" dirty="0">
                <a:latin typeface="+mj-lt"/>
              </a:rPr>
              <a:t>។ </a:t>
            </a:r>
          </a:p>
          <a:p>
            <a:pPr>
              <a:lnSpc>
                <a:spcPts val="3000"/>
              </a:lnSpc>
            </a:pPr>
            <a:r>
              <a:rPr lang="fr-CA" sz="1800" dirty="0" err="1">
                <a:latin typeface="+mj-lt"/>
              </a:rPr>
              <a:t>បើសិនអ្នកចង់អញ្ជើញ</a:t>
            </a:r>
            <a:r>
              <a:rPr lang="fr-CA" sz="1800" dirty="0">
                <a:latin typeface="+mj-lt"/>
              </a:rPr>
              <a:t> </a:t>
            </a:r>
            <a:r>
              <a:rPr lang="fr-CA" sz="1800" dirty="0" err="1">
                <a:latin typeface="+mj-lt"/>
              </a:rPr>
              <a:t>ទូត</a:t>
            </a:r>
            <a:r>
              <a:rPr lang="fr-CA" sz="1800" dirty="0">
                <a:latin typeface="+mj-lt"/>
              </a:rPr>
              <a:t> </a:t>
            </a:r>
            <a:r>
              <a:rPr lang="fr-CA" sz="2100" dirty="0">
                <a:latin typeface="+mj-lt"/>
              </a:rPr>
              <a:t>DPH </a:t>
            </a:r>
            <a:r>
              <a:rPr lang="fr-CA" sz="1800" dirty="0" err="1">
                <a:latin typeface="+mj-lt"/>
              </a:rPr>
              <a:t>មកវេទិការបស់អ្នក</a:t>
            </a:r>
            <a:r>
              <a:rPr lang="fr-CA" sz="1800" dirty="0">
                <a:latin typeface="+mj-lt"/>
              </a:rPr>
              <a:t> </a:t>
            </a:r>
            <a:r>
              <a:rPr lang="fr-CA" sz="1800" dirty="0" err="1">
                <a:latin typeface="+mj-lt"/>
              </a:rPr>
              <a:t>សូម</a:t>
            </a:r>
            <a:r>
              <a:rPr lang="km-KH" sz="1800" dirty="0">
                <a:latin typeface="+mj-lt"/>
              </a:rPr>
              <a:t>បំពេញទម្រង់នេះ។ </a:t>
            </a:r>
          </a:p>
          <a:p>
            <a:pPr>
              <a:lnSpc>
                <a:spcPts val="3000"/>
              </a:lnSpc>
            </a:pPr>
            <a:r>
              <a:rPr lang="fr-CA" sz="1800" dirty="0" err="1">
                <a:latin typeface="+mj-lt"/>
              </a:rPr>
              <a:t>បើសិនអាចធ្វើបាន</a:t>
            </a:r>
            <a:r>
              <a:rPr lang="fr-CA" sz="1800" dirty="0">
                <a:latin typeface="+mj-lt"/>
              </a:rPr>
              <a:t> </a:t>
            </a:r>
            <a:r>
              <a:rPr lang="fr-CA" sz="1800" dirty="0" err="1">
                <a:latin typeface="+mj-lt"/>
              </a:rPr>
              <a:t>សូមស្នើសុំទូត</a:t>
            </a:r>
            <a:r>
              <a:rPr lang="fr-CA" sz="1800" dirty="0">
                <a:latin typeface="+mj-lt"/>
              </a:rPr>
              <a:t> </a:t>
            </a:r>
            <a:r>
              <a:rPr lang="fr-CA" sz="1800" dirty="0" err="1">
                <a:latin typeface="+mj-lt"/>
              </a:rPr>
              <a:t>យ៉ាងហោច</a:t>
            </a:r>
            <a:r>
              <a:rPr lang="fr-CA" sz="1800" dirty="0">
                <a:latin typeface="+mj-lt"/>
              </a:rPr>
              <a:t> </a:t>
            </a:r>
            <a:r>
              <a:rPr lang="fr-CA" sz="2100" dirty="0">
                <a:latin typeface="+mj-lt"/>
              </a:rPr>
              <a:t>2 </a:t>
            </a:r>
            <a:r>
              <a:rPr lang="fr-CA" sz="1800" dirty="0" err="1">
                <a:latin typeface="+mj-lt"/>
              </a:rPr>
              <a:t>អាទិត្យ</a:t>
            </a:r>
            <a:r>
              <a:rPr lang="fr-CA" sz="1800" dirty="0">
                <a:latin typeface="+mj-lt"/>
              </a:rPr>
              <a:t> </a:t>
            </a:r>
            <a:r>
              <a:rPr lang="fr-CA" sz="1800" dirty="0" err="1">
                <a:latin typeface="+mj-lt"/>
              </a:rPr>
              <a:t>មុនពេលវេទិការបស់អ្នក</a:t>
            </a:r>
            <a:r>
              <a:rPr lang="fr-CA" sz="1800" dirty="0">
                <a:latin typeface="+mj-lt"/>
              </a:rPr>
              <a:t>។</a:t>
            </a:r>
          </a:p>
          <a:p>
            <a:pPr>
              <a:lnSpc>
                <a:spcPts val="3000"/>
              </a:lnSpc>
            </a:pPr>
            <a:r>
              <a:rPr lang="fr-CA" sz="2100" dirty="0">
                <a:latin typeface="+mj-lt"/>
              </a:rPr>
              <a:t>DPH</a:t>
            </a:r>
            <a:r>
              <a:rPr lang="fr-CA" sz="1800" dirty="0">
                <a:latin typeface="+mj-lt"/>
              </a:rPr>
              <a:t> </a:t>
            </a:r>
            <a:r>
              <a:rPr lang="fr-CA" sz="1800" dirty="0" err="1">
                <a:latin typeface="+mj-lt"/>
              </a:rPr>
              <a:t>នឹងខំប្រឹងប្រែង</a:t>
            </a:r>
            <a:r>
              <a:rPr lang="fr-CA" sz="1800" dirty="0">
                <a:latin typeface="+mj-lt"/>
              </a:rPr>
              <a:t> </a:t>
            </a:r>
            <a:r>
              <a:rPr lang="fr-CA" sz="1800" dirty="0" err="1">
                <a:latin typeface="+mj-lt"/>
              </a:rPr>
              <a:t>ដើម្បីបំពេញសំណើ</a:t>
            </a:r>
            <a:r>
              <a:rPr lang="fr-CA" sz="1800" dirty="0">
                <a:latin typeface="+mj-lt"/>
              </a:rPr>
              <a:t>។  </a:t>
            </a:r>
          </a:p>
          <a:p>
            <a:pPr>
              <a:lnSpc>
                <a:spcPts val="3000"/>
              </a:lnSpc>
            </a:pPr>
            <a:r>
              <a:rPr lang="km-KH" sz="1800" dirty="0">
                <a:solidFill>
                  <a:srgbClr val="FF0000"/>
                </a:solidFill>
                <a:latin typeface="+mj-lt"/>
              </a:rPr>
              <a:t>សូមដករូបបញ្ចាំងនេះ​ពីបណ្តុំមុននឹង​វេទិការបស់​អ្នក​។</a:t>
            </a:r>
            <a:endParaRPr lang="fr-CA" sz="1800" dirty="0">
              <a:solidFill>
                <a:srgbClr val="FF0000"/>
              </a:solidFill>
              <a:latin typeface="+mj-lt"/>
            </a:endParaRPr>
          </a:p>
          <a:p>
            <a:pPr>
              <a:lnSpc>
                <a:spcPts val="3000"/>
              </a:lnSpc>
            </a:pPr>
            <a:endParaRPr lang="en-US" sz="1400" dirty="0">
              <a:latin typeface="Kh Content" panose="02000500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395925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F0DC069-7A18-449E-9B5B-42D496ED299A}"/>
              </a:ext>
            </a:extLst>
          </p:cNvPr>
          <p:cNvSpPr txBox="1"/>
          <p:nvPr/>
        </p:nvSpPr>
        <p:spPr>
          <a:xfrm>
            <a:off x="478571" y="385921"/>
            <a:ext cx="11314323" cy="46166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fr-CA" sz="3000" dirty="0" err="1">
                <a:latin typeface="Kh Content" panose="02000500000000020004" pitchFamily="2" charset="0"/>
                <a:cs typeface="Kh Content" panose="02000500000000020004" pitchFamily="2" charset="0"/>
              </a:rPr>
              <a:t>តើខ្ញុំនៅតែត្រូវពាក់ម៉ា</a:t>
            </a:r>
            <a:r>
              <a:rPr lang="km-KH" sz="3000" dirty="0">
                <a:latin typeface="Kh Content" panose="02000500000000020004" pitchFamily="2" charset="0"/>
                <a:cs typeface="Kh Content" panose="02000500000000020004" pitchFamily="2" charset="0"/>
              </a:rPr>
              <a:t>ស</a:t>
            </a:r>
            <a:r>
              <a:rPr lang="fr-CA" sz="3000" dirty="0" err="1">
                <a:latin typeface="Kh Content" panose="02000500000000020004" pitchFamily="2" charset="0"/>
                <a:cs typeface="Kh Content" panose="02000500000000020004" pitchFamily="2" charset="0"/>
              </a:rPr>
              <a:t>ទៀតឬ</a:t>
            </a:r>
            <a:r>
              <a:rPr lang="fr-CA" sz="3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30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ើសិនខ្ញុំបានចាក់វ៉ាក់សាំងពេញក៏ដោយ</a:t>
            </a:r>
            <a:r>
              <a:rPr lang="fr-CA" sz="3000" dirty="0">
                <a:latin typeface="Kh Content" panose="02000500000000020004" pitchFamily="2" charset="0"/>
                <a:cs typeface="Kh Content" panose="02000500000000020004" pitchFamily="2" charset="0"/>
              </a:rPr>
              <a:t>?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5C5A823-101A-4EFF-BD93-CBB21EC8DD44}"/>
              </a:ext>
            </a:extLst>
          </p:cNvPr>
          <p:cNvSpPr/>
          <p:nvPr/>
        </p:nvSpPr>
        <p:spPr>
          <a:xfrm>
            <a:off x="478571" y="1241077"/>
            <a:ext cx="11356939" cy="26314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14400" lvl="1" indent="-457200">
              <a:lnSpc>
                <a:spcPts val="3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km-KH" sz="2100" dirty="0">
                <a:latin typeface="Kh Content" panose="02000500000000020004" pitchFamily="2" charset="0"/>
                <a:cs typeface="Kh Content" panose="02000500000000020004" pitchFamily="2" charset="0"/>
              </a:rPr>
              <a:t>មានតែក្នុងស្ថានភាពជាក់លាក់ប៉ុណ្ណោះ រួមទាំងជំនិះសាធារណៈ ទីកន្លែងថែទាំសុខភាព សាលារៀន និង​ទីកន្លែងឯទៀត​ដែល​មាន​ប្រជាជនដែលស្ថិត​ក្នុង​ហានិភ័យ​ខ្ពស់ ដូចជា​ទីកន្លែង​ដែល​មាន​មនុស្ស​កុះករ ។</a:t>
            </a:r>
            <a:endParaRPr lang="fr-CA" sz="21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lvl="1">
              <a:lnSpc>
                <a:spcPts val="3000"/>
              </a:lnSpc>
              <a:spcBef>
                <a:spcPts val="600"/>
              </a:spcBef>
              <a:spcAft>
                <a:spcPts val="600"/>
              </a:spcAft>
            </a:pP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 </a:t>
            </a:r>
          </a:p>
          <a:p>
            <a:pPr marL="914400" lvl="1" indent="-457200">
              <a:lnSpc>
                <a:spcPts val="3000"/>
              </a:lnSpc>
              <a:buFont typeface="Courier New" panose="02070309020205020404" pitchFamily="49" charset="0"/>
              <a:buChar char="o"/>
            </a:pPr>
            <a:endParaRPr lang="en-US" sz="21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marL="914400" lvl="1" indent="-457200">
              <a:lnSpc>
                <a:spcPts val="3000"/>
              </a:lnSpc>
              <a:buFont typeface="Courier New" panose="02070309020205020404" pitchFamily="49" charset="0"/>
              <a:buChar char="o"/>
            </a:pPr>
            <a:endParaRPr lang="en-US" sz="2100" dirty="0">
              <a:latin typeface="Kh Content" panose="02000500000000020004" pitchFamily="2" charset="0"/>
              <a:cs typeface="Kh Content" panose="02000500000000020004" pitchFamily="2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C09F8D2-553D-424F-944B-1190EF7A74B7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2995" y="3113978"/>
            <a:ext cx="4895215" cy="2044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135097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F0DC069-7A18-449E-9B5B-42D496ED299A}"/>
              </a:ext>
            </a:extLst>
          </p:cNvPr>
          <p:cNvSpPr txBox="1"/>
          <p:nvPr/>
        </p:nvSpPr>
        <p:spPr>
          <a:xfrm>
            <a:off x="311146" y="339902"/>
            <a:ext cx="11314323" cy="46166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fr-CA" sz="3000" dirty="0" err="1">
                <a:latin typeface="Kh Content" panose="02000500000000020004" pitchFamily="2" charset="0"/>
                <a:cs typeface="Kh Content" panose="02000500000000020004" pitchFamily="2" charset="0"/>
              </a:rPr>
              <a:t>តើអ្នកណា</a:t>
            </a:r>
            <a:r>
              <a:rPr lang="fr-CA" sz="3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30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ាចជួយខ្ញុំធ្វើការសំរេចចិត្ដ</a:t>
            </a:r>
            <a:r>
              <a:rPr lang="fr-CA" sz="3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30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ំពីការទទួលវ៉ាក់សាំង</a:t>
            </a:r>
            <a:r>
              <a:rPr lang="fr-CA" sz="3000" dirty="0">
                <a:latin typeface="Kh Content" panose="02000500000000020004" pitchFamily="2" charset="0"/>
                <a:cs typeface="Kh Content" panose="02000500000000020004" pitchFamily="2" charset="0"/>
              </a:rPr>
              <a:t>?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5C5A823-101A-4EFF-BD93-CBB21EC8DD44}"/>
              </a:ext>
            </a:extLst>
          </p:cNvPr>
          <p:cNvSpPr/>
          <p:nvPr/>
        </p:nvSpPr>
        <p:spPr>
          <a:xfrm>
            <a:off x="587753" y="1663518"/>
            <a:ext cx="5157953" cy="3772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4100"/>
              </a:lnSpc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ើសិនអ្នកមានសំណួរថែមទៀត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ំពីសុខភាពផ្ទាល់ខ្លួនរបស់អ្នក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ឬអំពីការសំរេចចិត្ដ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ើម្បីទទួលវ៉ាក់សាំង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យាយទៅកាន់អ្នកផ្ដល់ការថែទាំសុខភាពដែលបានទុកចិត្ដ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ូចជា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េជ្ជបណ្ឌិត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,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ពេទ្យ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,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្នកចាត់ចែងការធានារ៉ាប់រងថែទាំ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, </a:t>
            </a:r>
          </a:p>
          <a:p>
            <a:pPr>
              <a:lnSpc>
                <a:spcPts val="4100"/>
              </a:lnSpc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ឱសថករ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,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ឬអ្នកធ្វើការសុខភាពសហគមន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៍ </a:t>
            </a:r>
          </a:p>
          <a:p>
            <a:pPr>
              <a:lnSpc>
                <a:spcPts val="4100"/>
              </a:lnSpc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របស់អ្នក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</a:p>
        </p:txBody>
      </p:sp>
      <p:pic>
        <p:nvPicPr>
          <p:cNvPr id="19458" name="Picture 2" descr="This is a picture of two people wearing masks standing in front of a medical building.">
            <a:extLst>
              <a:ext uri="{FF2B5EF4-FFF2-40B4-BE49-F238E27FC236}">
                <a16:creationId xmlns:a16="http://schemas.microsoft.com/office/drawing/2014/main" id="{CF19B3FD-7D43-41BC-B7D8-4C8C947246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96000" y="1487606"/>
            <a:ext cx="5747982" cy="4299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136549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F0DC069-7A18-449E-9B5B-42D496ED299A}"/>
              </a:ext>
            </a:extLst>
          </p:cNvPr>
          <p:cNvSpPr txBox="1"/>
          <p:nvPr/>
        </p:nvSpPr>
        <p:spPr>
          <a:xfrm>
            <a:off x="165372" y="316250"/>
            <a:ext cx="11314323" cy="46166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fr-CA" sz="30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ំណួរសំរាប់ការពិភាក្សា</a:t>
            </a:r>
            <a:r>
              <a:rPr lang="fr-CA" sz="3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5C5A823-101A-4EFF-BD93-CBB21EC8DD44}"/>
              </a:ext>
            </a:extLst>
          </p:cNvPr>
          <p:cNvSpPr/>
          <p:nvPr/>
        </p:nvSpPr>
        <p:spPr>
          <a:xfrm>
            <a:off x="478571" y="1241077"/>
            <a:ext cx="11356939" cy="48372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ts val="3000"/>
              </a:lnSpc>
              <a:buFont typeface="Arial" panose="020B0604020202020204" pitchFamily="34" charset="0"/>
              <a:buChar char="•"/>
            </a:pP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តើ</a:t>
            </a:r>
            <a:r>
              <a:rPr lang="fr-CA" b="1" dirty="0" err="1">
                <a:latin typeface="Kh Content" panose="02000500000000020004" pitchFamily="2" charset="0"/>
                <a:cs typeface="Kh Content" panose="02000500000000020004" pitchFamily="2" charset="0"/>
              </a:rPr>
              <a:t>អ្នក</a:t>
            </a:r>
            <a:r>
              <a:rPr lang="fr-CA" b="1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មានខ្វល់ខ្វាយអ្វី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ស្ដីពីវ៉ាក់សាំង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>
                <a:latin typeface="Calibri" panose="020F0502020204030204" pitchFamily="34" charset="0"/>
                <a:cs typeface="Calibri" panose="020F0502020204030204" pitchFamily="34" charset="0"/>
              </a:rPr>
              <a:t>COVID?</a:t>
            </a:r>
          </a:p>
          <a:p>
            <a:pPr marL="742950" lvl="1" indent="-285750">
              <a:lnSpc>
                <a:spcPts val="3000"/>
              </a:lnSpc>
              <a:spcAft>
                <a:spcPts val="1000"/>
              </a:spcAft>
              <a:buFont typeface="Courier New" panose="02070309020205020404" pitchFamily="49" charset="0"/>
              <a:buChar char="o"/>
            </a:pP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តើ</a:t>
            </a:r>
            <a:r>
              <a:rPr lang="fr-CA" b="1" dirty="0" err="1">
                <a:latin typeface="Kh Content" panose="02000500000000020004" pitchFamily="2" charset="0"/>
                <a:cs typeface="Kh Content" panose="02000500000000020004" pitchFamily="2" charset="0"/>
              </a:rPr>
              <a:t>មនុស្សក្នុងសហគមន៍របស់អ្នក</a:t>
            </a:r>
            <a:r>
              <a:rPr lang="fr-CA" b="1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មានខ្វល់ខ្វាយអ្វី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ស្ដីពីវ៉ាក់សាំង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>
                <a:latin typeface="Calibri" panose="020F0502020204030204" pitchFamily="34" charset="0"/>
                <a:cs typeface="Calibri" panose="020F0502020204030204" pitchFamily="34" charset="0"/>
              </a:rPr>
              <a:t>COVID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?</a:t>
            </a:r>
          </a:p>
          <a:p>
            <a:pPr marL="285750" lvl="0" indent="-285750">
              <a:lnSpc>
                <a:spcPts val="3000"/>
              </a:lnSpc>
              <a:buFont typeface="Arial" panose="020B0604020202020204" pitchFamily="34" charset="0"/>
              <a:buChar char="•"/>
            </a:pP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តើព័ត៌មានអ្វី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នឹងជួយ</a:t>
            </a:r>
            <a:r>
              <a:rPr lang="fr-CA" b="1" dirty="0" err="1">
                <a:latin typeface="Kh Content" panose="02000500000000020004" pitchFamily="2" charset="0"/>
                <a:cs typeface="Kh Content" panose="02000500000000020004" pitchFamily="2" charset="0"/>
              </a:rPr>
              <a:t>អ្នក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ឲ្យទុកចិត្ដវ៉ាក់សាំង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?</a:t>
            </a:r>
          </a:p>
          <a:p>
            <a:pPr marL="742950" lvl="1" indent="-285750">
              <a:lnSpc>
                <a:spcPts val="3000"/>
              </a:lnSpc>
              <a:spcAft>
                <a:spcPts val="1000"/>
              </a:spcAft>
              <a:buFont typeface="Courier New" panose="02070309020205020404" pitchFamily="49" charset="0"/>
              <a:buChar char="o"/>
            </a:pP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តើព័ត៌មានអ្វី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នឹងជួយ</a:t>
            </a:r>
            <a:r>
              <a:rPr lang="fr-CA" b="1" dirty="0" err="1">
                <a:latin typeface="Kh Content" panose="02000500000000020004" pitchFamily="2" charset="0"/>
                <a:cs typeface="Kh Content" panose="02000500000000020004" pitchFamily="2" charset="0"/>
              </a:rPr>
              <a:t>មនុស្សក្នុងសហគមន៍របស់អ្នក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ឲ្យទុកចិត្ដវ៉ាក់សាំង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?  </a:t>
            </a:r>
            <a:endParaRPr lang="en-US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marL="285750" lvl="0" indent="-285750">
              <a:lnSpc>
                <a:spcPts val="3000"/>
              </a:lnSpc>
              <a:buFont typeface="Arial" panose="020B0604020202020204" pitchFamily="34" charset="0"/>
              <a:buChar char="•"/>
            </a:pP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តើអ្វីនឹងធ្វើឲ្យ</a:t>
            </a:r>
            <a:r>
              <a:rPr lang="fr-CA" b="1" dirty="0" err="1">
                <a:latin typeface="Kh Content" panose="02000500000000020004" pitchFamily="2" charset="0"/>
                <a:cs typeface="Kh Content" panose="02000500000000020004" pitchFamily="2" charset="0"/>
              </a:rPr>
              <a:t>អ្នក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ទំនងនឹងទទួលវ៉ាក់សាំង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?</a:t>
            </a:r>
          </a:p>
          <a:p>
            <a:pPr marL="742950" lvl="1" indent="-285750">
              <a:lnSpc>
                <a:spcPts val="3000"/>
              </a:lnSpc>
              <a:spcAft>
                <a:spcPts val="1000"/>
              </a:spcAft>
              <a:buFont typeface="Courier New" panose="02070309020205020404" pitchFamily="49" charset="0"/>
              <a:buChar char="o"/>
            </a:pP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តើអ្វីនឹងធ្វើឲ្យ</a:t>
            </a:r>
            <a:r>
              <a:rPr lang="fr-CA" b="1" dirty="0" err="1">
                <a:latin typeface="Kh Content" panose="02000500000000020004" pitchFamily="2" charset="0"/>
                <a:cs typeface="Kh Content" panose="02000500000000020004" pitchFamily="2" charset="0"/>
              </a:rPr>
              <a:t>មនុស្សក្នុងសហគមន៍របស់អ្នក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ទំនងនឹងទទួលវ៉ាក់សាំង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?</a:t>
            </a:r>
          </a:p>
          <a:p>
            <a:pPr marL="285750" lvl="0" indent="-285750">
              <a:lnSpc>
                <a:spcPts val="3000"/>
              </a:lnSpc>
              <a:buFont typeface="Arial" panose="020B0604020202020204" pitchFamily="34" charset="0"/>
              <a:buChar char="•"/>
            </a:pP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តើឧបសគ្គអ្វីខ្លះ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ដែលវាធ្វើឲ្យពិបាកជាង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សំរាប់</a:t>
            </a:r>
            <a:r>
              <a:rPr lang="fr-CA" b="1" dirty="0" err="1">
                <a:latin typeface="Kh Content" panose="02000500000000020004" pitchFamily="2" charset="0"/>
                <a:cs typeface="Kh Content" panose="02000500000000020004" pitchFamily="2" charset="0"/>
              </a:rPr>
              <a:t>អ្នក</a:t>
            </a:r>
            <a:r>
              <a:rPr lang="fr-CA" b="1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ដើម្បីទទួលវ៉ាក់សាំង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>
                <a:latin typeface="Calibri" panose="020F0502020204030204" pitchFamily="34" charset="0"/>
                <a:cs typeface="Calibri" panose="020F0502020204030204" pitchFamily="34" charset="0"/>
              </a:rPr>
              <a:t>COVID 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(</a:t>
            </a: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ឧទាហរណ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៍ </a:t>
            </a: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ទីកន្លែង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, </a:t>
            </a: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ពេលឈប់ពីធ្វើការ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,           </a:t>
            </a: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ការត្រូវការពីរដូស្ស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)?</a:t>
            </a:r>
          </a:p>
          <a:p>
            <a:pPr marL="742950" lvl="1" indent="-285750">
              <a:lnSpc>
                <a:spcPts val="3000"/>
              </a:lnSpc>
              <a:spcAft>
                <a:spcPts val="1000"/>
              </a:spcAft>
              <a:buFont typeface="Courier New" panose="02070309020205020404" pitchFamily="49" charset="0"/>
              <a:buChar char="o"/>
            </a:pP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តើការអ្វីខ្លះ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ដែលអាចនឹងធ្វើឲ្យវាពិបាកជាង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សំរាប់</a:t>
            </a:r>
            <a:r>
              <a:rPr lang="fr-CA" b="1" dirty="0" err="1">
                <a:latin typeface="Kh Content" panose="02000500000000020004" pitchFamily="2" charset="0"/>
                <a:cs typeface="Kh Content" panose="02000500000000020004" pitchFamily="2" charset="0"/>
              </a:rPr>
              <a:t>មនុស្សក្នុងសហគមន៍របស់អ្នក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ដើម្បីទទួលវ៉ាក់សាំង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>
                <a:latin typeface="Calibri" panose="020F0502020204030204" pitchFamily="34" charset="0"/>
                <a:cs typeface="Calibri" panose="020F0502020204030204" pitchFamily="34" charset="0"/>
              </a:rPr>
              <a:t>COVID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?</a:t>
            </a:r>
          </a:p>
          <a:p>
            <a:pPr marL="285750" lvl="0" indent="-285750">
              <a:lnSpc>
                <a:spcPts val="3000"/>
              </a:lnSpc>
              <a:buFont typeface="Arial" panose="020B0604020202020204" pitchFamily="34" charset="0"/>
              <a:buChar char="•"/>
            </a:pP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តើ</a:t>
            </a:r>
            <a:r>
              <a:rPr lang="km-KH" dirty="0">
                <a:latin typeface="Kh Content" panose="02000500000000020004" pitchFamily="2" charset="0"/>
                <a:cs typeface="Kh Content" panose="02000500000000020004" pitchFamily="2" charset="0"/>
              </a:rPr>
              <a:t>អ្វីខ្លះ​ដែល​បង្កលក្ខណៈកាន់តែ​​</a:t>
            </a: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ងាយស្រួលឡើងសំរាប់</a:t>
            </a:r>
            <a:r>
              <a:rPr lang="fr-CA" b="1" dirty="0" err="1">
                <a:latin typeface="Kh Content" panose="02000500000000020004" pitchFamily="2" charset="0"/>
                <a:cs typeface="Kh Content" panose="02000500000000020004" pitchFamily="2" charset="0"/>
              </a:rPr>
              <a:t>អ្នក</a:t>
            </a:r>
            <a:r>
              <a:rPr lang="km-KH" b="1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km-KH" dirty="0">
                <a:latin typeface="Kh Content" panose="02000500000000020004" pitchFamily="2" charset="0"/>
                <a:cs typeface="Kh Content" panose="02000500000000020004" pitchFamily="2" charset="0"/>
              </a:rPr>
              <a:t>ក្នុងការទទួល​</a:t>
            </a: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ចាក់វ៉ាក់សាំ</a:t>
            </a:r>
            <a:r>
              <a:rPr lang="km-KH" dirty="0">
                <a:latin typeface="Kh Content" panose="02000500000000020004" pitchFamily="2" charset="0"/>
                <a:cs typeface="Kh Content" panose="02000500000000020004" pitchFamily="2" charset="0"/>
              </a:rPr>
              <a:t>ង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?</a:t>
            </a:r>
          </a:p>
          <a:p>
            <a:pPr marL="742950" lvl="1" indent="-285750">
              <a:lnSpc>
                <a:spcPts val="3000"/>
              </a:lnSpc>
              <a:buFont typeface="Courier New" panose="02070309020205020404" pitchFamily="49" charset="0"/>
              <a:buChar char="o"/>
            </a:pP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តើ</a:t>
            </a:r>
            <a:r>
              <a:rPr lang="km-KH" dirty="0">
                <a:latin typeface="Kh Content" panose="02000500000000020004" pitchFamily="2" charset="0"/>
                <a:cs typeface="Kh Content" panose="02000500000000020004" pitchFamily="2" charset="0"/>
              </a:rPr>
              <a:t>អ្វីខ្លះ​ដែល​បង្កលក្ខណៈកាន់តែ​</a:t>
            </a: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ងាយស្រួលឡើងសំរាប់</a:t>
            </a:r>
            <a:r>
              <a:rPr lang="fr-CA" b="1" dirty="0" err="1">
                <a:latin typeface="Kh Content" panose="02000500000000020004" pitchFamily="2" charset="0"/>
                <a:cs typeface="Kh Content" panose="02000500000000020004" pitchFamily="2" charset="0"/>
              </a:rPr>
              <a:t>មនុស្សក្នុងសហគមន៍របស់អ្នក</a:t>
            </a:r>
            <a:r>
              <a:rPr lang="fr-CA" b="1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km-KH" dirty="0">
                <a:latin typeface="Kh Content" panose="02000500000000020004" pitchFamily="2" charset="0"/>
                <a:cs typeface="Kh Content" panose="02000500000000020004" pitchFamily="2" charset="0"/>
              </a:rPr>
              <a:t>ក្នុងការ​ទទួល​</a:t>
            </a: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បានចាក់វ៉ាក់សាំង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40597401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C196E34-67BE-44FC-8877-1C87128A9C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9D0EE-DE7F-324B-A84C-F36708423CDB}" type="slidenum">
              <a:rPr lang="en-US" sz="1000" smtClean="0">
                <a:solidFill>
                  <a:srgbClr val="464646">
                    <a:lumMod val="40000"/>
                    <a:lumOff val="6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33</a:t>
            </a:fld>
            <a:endParaRPr lang="en-US" sz="1000">
              <a:solidFill>
                <a:srgbClr val="464646">
                  <a:lumMod val="40000"/>
                  <a:lumOff val="60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738515A-DC24-4FF1-85F9-68F50ED8147F}"/>
              </a:ext>
            </a:extLst>
          </p:cNvPr>
          <p:cNvSpPr txBox="1"/>
          <p:nvPr/>
        </p:nvSpPr>
        <p:spPr>
          <a:xfrm>
            <a:off x="178625" y="290676"/>
            <a:ext cx="11314323" cy="46166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fr-CA" sz="30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ន្លែងដើម្បីស្វែងយល់ថែមទៀត</a:t>
            </a:r>
            <a:endParaRPr lang="fr-CA" sz="3000" dirty="0">
              <a:latin typeface="Kh Content" panose="02000500000000020004" pitchFamily="2" charset="0"/>
              <a:cs typeface="Kh Content" panose="02000500000000020004" pitchFamily="2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069143-FE01-453C-934A-DAA4862AED31}"/>
              </a:ext>
            </a:extLst>
          </p:cNvPr>
          <p:cNvSpPr/>
          <p:nvPr/>
        </p:nvSpPr>
        <p:spPr>
          <a:xfrm>
            <a:off x="478571" y="999525"/>
            <a:ext cx="11356939" cy="60837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ts val="3200"/>
              </a:lnSpc>
            </a:pPr>
            <a:r>
              <a:rPr lang="km-KH" sz="2100" dirty="0">
                <a:latin typeface="Kh Content" panose="02000500000000020004" pitchFamily="2" charset="0"/>
                <a:cs typeface="Kh Content" panose="02000500000000020004" pitchFamily="2" charset="0"/>
              </a:rPr>
              <a:t>នរណាដែលបានទទួលវ៉ាក់សាំងរួចហើយ</a:t>
            </a:r>
            <a:endParaRPr lang="fr-CA" sz="21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>
              <a:lnSpc>
                <a:spcPts val="3200"/>
              </a:lnSpc>
              <a:spcAft>
                <a:spcPts val="2400"/>
              </a:spcAft>
            </a:pPr>
            <a:r>
              <a:rPr lang="km-KH" sz="2100" dirty="0">
                <a:latin typeface="Kh Content" panose="02000500000000020004" pitchFamily="2" charset="0"/>
                <a:cs typeface="Kh Content" panose="02000500000000020004" pitchFamily="2" charset="0"/>
                <a:hlinkClick r:id="rId3"/>
              </a:rPr>
              <a:t>កម្មវិធីការចាក់វ៉ាក់សាំង</a:t>
            </a:r>
            <a:r>
              <a:rPr lang="km-KH" sz="2400" dirty="0"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 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COVID-19 | Mass.gov</a:t>
            </a:r>
            <a:endParaRPr lang="en-US" sz="10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lvl="0">
              <a:lnSpc>
                <a:spcPts val="3200"/>
              </a:lnSpc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ំណួរដែលសួរញឹកញាប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ំរាប់សាធារណជនទូទៅ</a:t>
            </a:r>
            <a:endParaRPr lang="fr-CA" sz="21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lvl="0">
              <a:lnSpc>
                <a:spcPts val="3200"/>
              </a:lnSpc>
            </a:pPr>
            <a:r>
              <a:rPr lang="fr-CA" sz="2100" u="sng" dirty="0" err="1">
                <a:latin typeface="Kh Content" panose="02000500000000020004" pitchFamily="2" charset="0"/>
                <a:cs typeface="Kh Content" panose="02000500000000020004" pitchFamily="2" charset="0"/>
                <a:hlinkClick r:id="rId4"/>
              </a:rPr>
              <a:t>សំណួរដែលសួរញឹកញាប</a:t>
            </a:r>
            <a:r>
              <a:rPr lang="fr-CA" sz="2100" u="sng" dirty="0">
                <a:latin typeface="Kh Content" panose="02000500000000020004" pitchFamily="2" charset="0"/>
                <a:cs typeface="Kh Content" panose="02000500000000020004" pitchFamily="2" charset="0"/>
                <a:hlinkClick r:id="rId4"/>
              </a:rPr>
              <a:t>់ </a:t>
            </a:r>
            <a:r>
              <a:rPr lang="fr-CA" sz="2100" u="sng" dirty="0" err="1">
                <a:latin typeface="Kh Content" panose="02000500000000020004" pitchFamily="2" charset="0"/>
                <a:cs typeface="Kh Content" panose="02000500000000020004" pitchFamily="2" charset="0"/>
                <a:hlinkClick r:id="rId4"/>
              </a:rPr>
              <a:t>អំពីវ៉ាក់សាំង</a:t>
            </a:r>
            <a:r>
              <a:rPr lang="fr-CA" sz="2100" u="sng" dirty="0">
                <a:latin typeface="Kh Content" panose="02000500000000020004" pitchFamily="2" charset="0"/>
                <a:cs typeface="Kh Content" panose="02000500000000020004" pitchFamily="2" charset="0"/>
                <a:hlinkClick r:id="rId4"/>
              </a:rPr>
              <a:t> </a:t>
            </a:r>
            <a:r>
              <a:rPr lang="fr-CA" sz="2400" u="sng" dirty="0">
                <a:latin typeface="Calibri" panose="020F0502020204030204" pitchFamily="34" charset="0"/>
                <a:cs typeface="Calibri" panose="020F0502020204030204" pitchFamily="34" charset="0"/>
                <a:hlinkClick r:id="rId4"/>
              </a:rPr>
              <a:t>COVID-19 | Mass.gov</a:t>
            </a:r>
          </a:p>
          <a:p>
            <a:pPr lvl="0"/>
            <a:endParaRPr lang="en-US" sz="21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lvl="0">
              <a:lnSpc>
                <a:spcPts val="3200"/>
              </a:lnSpc>
            </a:pPr>
            <a:r>
              <a:rPr lang="km-KH" sz="2100" dirty="0">
                <a:latin typeface="Kh Content" panose="02000500000000020004" pitchFamily="2" charset="0"/>
                <a:cs typeface="Kh Content" panose="02000500000000020004" pitchFamily="2" charset="0"/>
              </a:rPr>
              <a:t>វ៉ាក់សាំងសមធម៌</a:t>
            </a:r>
          </a:p>
          <a:p>
            <a:pPr lvl="0">
              <a:lnSpc>
                <a:spcPts val="3200"/>
              </a:lnSpc>
            </a:pPr>
            <a:r>
              <a:rPr lang="km-KH" sz="2100" u="sng" dirty="0">
                <a:latin typeface="Kh Content" panose="02000500000000020004" pitchFamily="2" charset="0"/>
                <a:cs typeface="Kh Content" panose="02000500000000020004" pitchFamily="2" charset="0"/>
                <a:hlinkClick r:id="rId5"/>
              </a:rPr>
              <a:t>ការផ្តួចផ្តើមសមធម៌</a:t>
            </a:r>
            <a:r>
              <a:rPr lang="fr-CA" sz="2100" u="sng" dirty="0" err="1">
                <a:latin typeface="Kh Content" panose="02000500000000020004" pitchFamily="2" charset="0"/>
                <a:cs typeface="Kh Content" panose="02000500000000020004" pitchFamily="2" charset="0"/>
                <a:hlinkClick r:id="rId5"/>
              </a:rPr>
              <a:t>វ៉ាក់សាំង</a:t>
            </a:r>
            <a:r>
              <a:rPr lang="fr-CA" sz="2100" u="sng" dirty="0">
                <a:latin typeface="Kh Content" panose="02000500000000020004" pitchFamily="2" charset="0"/>
                <a:cs typeface="Kh Content" panose="02000500000000020004" pitchFamily="2" charset="0"/>
                <a:hlinkClick r:id="rId5"/>
              </a:rPr>
              <a:t>​ </a:t>
            </a:r>
            <a:r>
              <a:rPr lang="fr-CA" sz="2400" u="sng" dirty="0">
                <a:latin typeface="Calibri" panose="020F0502020204030204" pitchFamily="34" charset="0"/>
                <a:cs typeface="Calibri" panose="020F0502020204030204" pitchFamily="34" charset="0"/>
                <a:hlinkClick r:id="rId5"/>
              </a:rPr>
              <a:t>COVID-19</a:t>
            </a:r>
            <a:endParaRPr lang="km-KH" sz="2100" u="sng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lvl="0">
              <a:lnSpc>
                <a:spcPts val="3200"/>
              </a:lnSpc>
            </a:pPr>
            <a:endParaRPr lang="km-KH" sz="21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lvl="0">
              <a:lnSpc>
                <a:spcPts val="3200"/>
              </a:lnSpc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ព័ត៌មានវ៉ាក់សាំង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កពី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CDC</a:t>
            </a:r>
          </a:p>
          <a:p>
            <a:pPr lvl="0">
              <a:lnSpc>
                <a:spcPts val="3200"/>
              </a:lnSpc>
            </a:pPr>
            <a:r>
              <a:rPr lang="fr-CA" sz="2100" u="sng" dirty="0" err="1">
                <a:latin typeface="Kh Content" panose="02000500000000020004" pitchFamily="2" charset="0"/>
                <a:cs typeface="Kh Content" panose="02000500000000020004" pitchFamily="2" charset="0"/>
                <a:hlinkClick r:id="rId5"/>
              </a:rPr>
              <a:t>វ៉ាក់សាំង</a:t>
            </a:r>
            <a:r>
              <a:rPr lang="fr-CA" sz="2100" u="sng" dirty="0">
                <a:latin typeface="Kh Content" panose="02000500000000020004" pitchFamily="2" charset="0"/>
                <a:cs typeface="Kh Content" panose="02000500000000020004" pitchFamily="2" charset="0"/>
                <a:hlinkClick r:id="rId5"/>
              </a:rPr>
              <a:t>​ </a:t>
            </a:r>
            <a:r>
              <a:rPr lang="fr-CA" sz="2400" u="sng" dirty="0">
                <a:latin typeface="Calibri" panose="020F0502020204030204" pitchFamily="34" charset="0"/>
                <a:cs typeface="Calibri" panose="020F0502020204030204" pitchFamily="34" charset="0"/>
                <a:hlinkClick r:id="rId5"/>
              </a:rPr>
              <a:t>COVID-19 | CDC</a:t>
            </a:r>
          </a:p>
          <a:p>
            <a:pPr lvl="0"/>
            <a:endParaRPr lang="en-US" sz="2100" u="sng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>
              <a:lnSpc>
                <a:spcPts val="3200"/>
              </a:lnSpc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ំរាប់សំណួរផ្សេងៗទៀត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ទាក់ទងនឹងវ៉ាក់សាំង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្នុងរដ្ឋម៉ាស្សជូសេត្ដ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ូមផ្ញើអ៊ីមែល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៖</a:t>
            </a:r>
          </a:p>
          <a:p>
            <a:pPr>
              <a:lnSpc>
                <a:spcPts val="3200"/>
              </a:lnSpc>
            </a:pPr>
            <a:r>
              <a:rPr lang="fr-CA" sz="2400" u="sng" dirty="0">
                <a:latin typeface="Calibri" panose="020F0502020204030204" pitchFamily="34" charset="0"/>
                <a:cs typeface="Calibri" panose="020F0502020204030204" pitchFamily="34" charset="0"/>
                <a:hlinkClick r:id="rId6"/>
              </a:rPr>
              <a:t>COVID-19-Vaccine-Plan-MA@mass.gov</a:t>
            </a:r>
          </a:p>
          <a:p>
            <a:pPr lvl="0"/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428828219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EB489F-C3F8-44C1-9BB9-00F5D6FE80F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33734" y="2330403"/>
            <a:ext cx="10515600" cy="147732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CA" sz="3000" b="1">
                <a:latin typeface="Kh Content" panose="02000500000000020004" pitchFamily="2" charset="0"/>
                <a:cs typeface="Kh Content" panose="02000500000000020004" pitchFamily="2" charset="0"/>
              </a:rPr>
              <a:t>ធនធានបន្ថែម សំរាប់អ្នករៀបចំវេទិកា</a:t>
            </a:r>
          </a:p>
        </p:txBody>
      </p:sp>
    </p:spTree>
    <p:extLst>
      <p:ext uri="{BB962C8B-B14F-4D97-AF65-F5344CB8AC3E}">
        <p14:creationId xmlns:p14="http://schemas.microsoft.com/office/powerpoint/2010/main" val="280230967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F0DC069-7A18-449E-9B5B-42D496ED299A}"/>
              </a:ext>
            </a:extLst>
          </p:cNvPr>
          <p:cNvSpPr txBox="1"/>
          <p:nvPr/>
        </p:nvSpPr>
        <p:spPr>
          <a:xfrm>
            <a:off x="311146" y="281427"/>
            <a:ext cx="11677654" cy="40011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fr-CA" sz="2600" dirty="0" err="1">
                <a:latin typeface="Kh Content" panose="02000500000000020004" pitchFamily="2" charset="0"/>
                <a:cs typeface="Kh Content" panose="02000500000000020004" pitchFamily="2" charset="0"/>
              </a:rPr>
              <a:t>ឧទាហរណ៍នៃសំណួរផ្សេងទៀត</a:t>
            </a:r>
            <a:r>
              <a:rPr lang="fr-CA" sz="26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6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ៅក្នុងសំណួរដែលសួរញឹកញាប</a:t>
            </a:r>
            <a:r>
              <a:rPr lang="fr-CA" sz="26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26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ំរាប់សាធារណជនទូទៅ</a:t>
            </a:r>
            <a:endParaRPr lang="fr-CA" sz="2600" dirty="0">
              <a:latin typeface="Kh Content" panose="02000500000000020004" pitchFamily="2" charset="0"/>
              <a:cs typeface="Kh Content" panose="02000500000000020004" pitchFamily="2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5C5A823-101A-4EFF-BD93-CBB21EC8DD44}"/>
              </a:ext>
            </a:extLst>
          </p:cNvPr>
          <p:cNvSpPr/>
          <p:nvPr/>
        </p:nvSpPr>
        <p:spPr>
          <a:xfrm>
            <a:off x="478572" y="1241077"/>
            <a:ext cx="11227876" cy="36574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3400"/>
              </a:lnSpc>
              <a:spcAft>
                <a:spcPts val="1000"/>
              </a:spcAft>
            </a:pPr>
            <a:r>
              <a:rPr lang="fr-CA" sz="2200" u="sng" dirty="0" err="1">
                <a:latin typeface="Kh Content" panose="02000500000000020004" pitchFamily="2" charset="0"/>
                <a:cs typeface="Kh Content" panose="02000500000000020004" pitchFamily="2" charset="0"/>
                <a:hlinkClick r:id="rId3"/>
              </a:rPr>
              <a:t>សំណួរដែលសួរញឹកញាប</a:t>
            </a:r>
            <a:r>
              <a:rPr lang="fr-CA" sz="2200" u="sng" dirty="0">
                <a:latin typeface="Kh Content" panose="02000500000000020004" pitchFamily="2" charset="0"/>
                <a:cs typeface="Kh Content" panose="02000500000000020004" pitchFamily="2" charset="0"/>
                <a:hlinkClick r:id="rId3"/>
              </a:rPr>
              <a:t>់ </a:t>
            </a:r>
            <a:r>
              <a:rPr lang="fr-CA" sz="2200" u="sng" dirty="0" err="1">
                <a:latin typeface="Kh Content" panose="02000500000000020004" pitchFamily="2" charset="0"/>
                <a:cs typeface="Kh Content" panose="02000500000000020004" pitchFamily="2" charset="0"/>
                <a:hlinkClick r:id="rId3"/>
              </a:rPr>
              <a:t>អំពីវ៉ាក់សាំង</a:t>
            </a:r>
            <a:r>
              <a:rPr lang="fr-CA" sz="2200" u="sng" dirty="0">
                <a:latin typeface="Kh Content" panose="02000500000000020004" pitchFamily="2" charset="0"/>
                <a:cs typeface="Kh Content" panose="02000500000000020004" pitchFamily="2" charset="0"/>
                <a:hlinkClick r:id="rId3"/>
              </a:rPr>
              <a:t> </a:t>
            </a:r>
            <a:r>
              <a:rPr lang="fr-CA" sz="2600" u="sng" dirty="0"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COVID-19 | Mass.gov</a:t>
            </a:r>
          </a:p>
          <a:p>
            <a:pPr marL="342900" indent="-342900">
              <a:lnSpc>
                <a:spcPts val="34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តើនរណាម្នាក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ែលវិជ្ជមាន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500" dirty="0">
                <a:latin typeface="Calibri" panose="020F0502020204030204" pitchFamily="34" charset="0"/>
                <a:cs typeface="Calibri" panose="020F0502020204030204" pitchFamily="34" charset="0"/>
              </a:rPr>
              <a:t>COVID-19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គួរតែទទួលវ៉ាក់សាំងឬទេ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?</a:t>
            </a:r>
          </a:p>
          <a:p>
            <a:pPr marL="342900" indent="-342900">
              <a:lnSpc>
                <a:spcPts val="34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តើនរណាម្នាក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ធ្លាប់មាន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500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គួរតែបានចាក់វ៉ាក់សាំងឬទេ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?</a:t>
            </a:r>
          </a:p>
          <a:p>
            <a:pPr marL="342900" indent="-342900">
              <a:lnSpc>
                <a:spcPts val="34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តើខ្ញុំអាចរំពឹងអ្វីខ្លះ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ៅការណាត់ជួបរបស់ខ្ញុំ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ើម្បីឲ្យបានចាក់វ៉ាក់សាំង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500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?</a:t>
            </a:r>
          </a:p>
          <a:p>
            <a:pPr marL="342900" indent="-342900">
              <a:lnSpc>
                <a:spcPts val="34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តើមនុស្សដែលរស់នៅក្នុងរដ្ឋ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ឬប្រទេសមួយទៀត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ិនអចិន្រ្ដៃយ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៍ (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ូចជា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ស្សិត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,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្នកចូលនិវត្ដន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៍,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នុស្សមានសញ្ជាតិពីរ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)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ទទួលវ៉ាក់សាំង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500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25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្នុងរដ្ឋម៉ាស្សាជូសេត្ដឬទេ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?</a:t>
            </a:r>
            <a:endParaRPr lang="km-KH" sz="22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marL="342900" indent="-342900">
              <a:lnSpc>
                <a:spcPts val="34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km-KH" sz="2200" dirty="0">
                <a:latin typeface="Kh Content" panose="02000500000000020004" pitchFamily="2" charset="0"/>
                <a:cs typeface="Kh Content" panose="02000500000000020004" pitchFamily="2" charset="0"/>
              </a:rPr>
              <a:t>តើការប្រើប្រាស់ការអនុញ្ញាតជាបន្ទាន់គឺជាអ្វី?</a:t>
            </a:r>
            <a:endParaRPr lang="fr-CA" sz="2200" dirty="0">
              <a:latin typeface="Kh Content" panose="02000500000000020004" pitchFamily="2" charset="0"/>
              <a:cs typeface="Kh Content" panose="02000500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420541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C196E34-67BE-44FC-8877-1C87128A9C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9D0EE-DE7F-324B-A84C-F36708423CDB}" type="slidenum">
              <a:rPr lang="en-US" sz="1000" smtClean="0">
                <a:solidFill>
                  <a:srgbClr val="464646">
                    <a:lumMod val="40000"/>
                    <a:lumOff val="6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36</a:t>
            </a:fld>
            <a:endParaRPr lang="en-US" sz="1000">
              <a:solidFill>
                <a:srgbClr val="464646">
                  <a:lumMod val="40000"/>
                  <a:lumOff val="60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738515A-DC24-4FF1-85F9-68F50ED8147F}"/>
              </a:ext>
            </a:extLst>
          </p:cNvPr>
          <p:cNvSpPr txBox="1"/>
          <p:nvPr/>
        </p:nvSpPr>
        <p:spPr>
          <a:xfrm>
            <a:off x="178625" y="285038"/>
            <a:ext cx="11314323" cy="46166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fr-CA" sz="3000" dirty="0" err="1">
                <a:latin typeface="Kh Content" panose="02000500000000020004" pitchFamily="2" charset="0"/>
                <a:cs typeface="Kh Content" panose="02000500000000020004" pitchFamily="2" charset="0"/>
              </a:rPr>
              <a:t>ឧបករណ</a:t>
            </a:r>
            <a:r>
              <a:rPr lang="fr-CA" sz="3000" dirty="0">
                <a:latin typeface="Kh Content" panose="02000500000000020004" pitchFamily="2" charset="0"/>
                <a:cs typeface="Kh Content" panose="02000500000000020004" pitchFamily="2" charset="0"/>
              </a:rPr>
              <a:t>៍ </a:t>
            </a:r>
            <a:r>
              <a:rPr lang="fr-CA" sz="3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ធនធាន</a:t>
            </a:r>
            <a:endParaRPr lang="fr-CA" sz="3000" dirty="0">
              <a:latin typeface="Kh Content" panose="02000500000000020004" pitchFamily="2" charset="0"/>
              <a:cs typeface="Kh Content" panose="02000500000000020004" pitchFamily="2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069143-FE01-453C-934A-DAA4862AED31}"/>
              </a:ext>
            </a:extLst>
          </p:cNvPr>
          <p:cNvSpPr/>
          <p:nvPr/>
        </p:nvSpPr>
        <p:spPr>
          <a:xfrm>
            <a:off x="478571" y="1241077"/>
            <a:ext cx="11356939" cy="5160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3400"/>
              </a:lnSpc>
            </a:pP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ខិត្ដប័ណ្ណ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រូបភាពសង្គមព័ត៌មាន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ជាពហុភាសា</a:t>
            </a:r>
            <a:endParaRPr lang="fr-CA" sz="22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lvl="0">
              <a:lnSpc>
                <a:spcPts val="3400"/>
              </a:lnSpc>
            </a:pP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  <a:hlinkClick r:id="rId3"/>
              </a:rPr>
              <a:t>បញ្ឈប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  <a:hlinkClick r:id="rId3"/>
              </a:rPr>
              <a:t>់ </a:t>
            </a:r>
            <a:r>
              <a:rPr lang="fr-CA" sz="2500" dirty="0"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COVID-19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 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  <a:hlinkClick r:id="rId3"/>
              </a:rPr>
              <a:t>–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  <a:hlinkClick r:id="rId3"/>
              </a:rPr>
              <a:t>រូបភាពវ៉ាក់សាំង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  <a:hlinkClick r:id="rId3"/>
              </a:rPr>
              <a:t> </a:t>
            </a:r>
            <a:r>
              <a:rPr lang="fr-CA" sz="2500" dirty="0"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| Mass.gov</a:t>
            </a:r>
          </a:p>
          <a:p>
            <a:endParaRPr lang="en-US" sz="12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>
              <a:lnSpc>
                <a:spcPts val="3400"/>
              </a:lnSpc>
            </a:pP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ទុកចិត្ដការណ៍ពិត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ទទួលសំភារៈឃោសនា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500" dirty="0" err="1">
                <a:latin typeface="Calibri" panose="020F0502020204030204" pitchFamily="34" charset="0"/>
                <a:cs typeface="Calibri" panose="020F0502020204030204" pitchFamily="34" charset="0"/>
              </a:rPr>
              <a:t>Vax</a:t>
            </a:r>
            <a:r>
              <a:rPr lang="fr-CA" sz="2200" b="1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b="1" dirty="0" err="1">
                <a:latin typeface="Kh Content" panose="02000500000000020004" pitchFamily="2" charset="0"/>
                <a:cs typeface="Kh Content" panose="02000500000000020004" pitchFamily="2" charset="0"/>
              </a:rPr>
              <a:t>រួមទាំងវីដេអូ</a:t>
            </a:r>
            <a:endParaRPr lang="fr-CA" sz="2200" b="1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>
              <a:lnSpc>
                <a:spcPts val="3400"/>
              </a:lnSpc>
            </a:pP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  <a:hlinkClick r:id="rId4"/>
              </a:rPr>
              <a:t>ទុកចិត្ដការណ៍ពិត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  <a:hlinkClick r:id="rId4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  <a:hlinkClick r:id="rId4"/>
              </a:rPr>
              <a:t>ទទួលសំភារៈឃោសនា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  <a:hlinkClick r:id="rId4"/>
              </a:rPr>
              <a:t> </a:t>
            </a:r>
            <a:r>
              <a:rPr lang="fr-CA" sz="2500" dirty="0" err="1">
                <a:latin typeface="Calibri" panose="020F0502020204030204" pitchFamily="34" charset="0"/>
                <a:cs typeface="Calibri" panose="020F0502020204030204" pitchFamily="34" charset="0"/>
                <a:hlinkClick r:id="rId4"/>
              </a:rPr>
              <a:t>Vax</a:t>
            </a:r>
            <a:r>
              <a:rPr lang="fr-CA" sz="2500" b="1" dirty="0">
                <a:latin typeface="Calibri" panose="020F0502020204030204" pitchFamily="34" charset="0"/>
                <a:cs typeface="Calibri" panose="020F0502020204030204" pitchFamily="34" charset="0"/>
                <a:hlinkClick r:id="rId4"/>
              </a:rPr>
              <a:t> </a:t>
            </a:r>
            <a:r>
              <a:rPr lang="fr-CA" sz="2500" dirty="0">
                <a:latin typeface="Calibri" panose="020F0502020204030204" pitchFamily="34" charset="0"/>
                <a:cs typeface="Calibri" panose="020F0502020204030204" pitchFamily="34" charset="0"/>
                <a:hlinkClick r:id="rId4"/>
              </a:rPr>
              <a:t> | Mass.gov</a:t>
            </a:r>
          </a:p>
          <a:p>
            <a:endParaRPr lang="en-US" sz="12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>
              <a:lnSpc>
                <a:spcPts val="3400"/>
              </a:lnSpc>
            </a:pP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ារប្រាស្រ័យទាក់ទងវ៉ាក់សាំង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500" dirty="0">
                <a:latin typeface="Calibri" panose="020F0502020204030204" pitchFamily="34" charset="0"/>
                <a:cs typeface="Calibri" panose="020F0502020204030204" pitchFamily="34" charset="0"/>
              </a:rPr>
              <a:t>COVID-19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ញ្ចប់ឧបករណ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៍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ំរាប់</a:t>
            </a:r>
            <a:r>
              <a:rPr lang="fr-CA" sz="2200" b="1" dirty="0" err="1">
                <a:latin typeface="Kh Content" panose="02000500000000020004" pitchFamily="2" charset="0"/>
                <a:cs typeface="Kh Content" panose="02000500000000020004" pitchFamily="2" charset="0"/>
              </a:rPr>
              <a:t>អង្គការតាមសហគមន</a:t>
            </a:r>
            <a:r>
              <a:rPr lang="fr-CA" sz="2200" b="1" dirty="0">
                <a:latin typeface="Kh Content" panose="02000500000000020004" pitchFamily="2" charset="0"/>
                <a:cs typeface="Kh Content" panose="02000500000000020004" pitchFamily="2" charset="0"/>
              </a:rPr>
              <a:t>៍ </a:t>
            </a:r>
          </a:p>
          <a:p>
            <a:pPr>
              <a:lnSpc>
                <a:spcPts val="3400"/>
              </a:lnSpc>
            </a:pP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  <a:hlinkClick r:id="rId5"/>
              </a:rPr>
              <a:t>ការប្រាស្រ័យទាក់ទងវ៉ាក់សាំង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  <a:hlinkClick r:id="rId5"/>
              </a:rPr>
              <a:t> </a:t>
            </a:r>
            <a:r>
              <a:rPr lang="fr-CA" sz="2500" dirty="0">
                <a:latin typeface="Calibri" panose="020F0502020204030204" pitchFamily="34" charset="0"/>
                <a:cs typeface="Calibri" panose="020F0502020204030204" pitchFamily="34" charset="0"/>
                <a:hlinkClick r:id="rId5"/>
              </a:rPr>
              <a:t>COVID-19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  <a:hlinkClick r:id="rId5"/>
              </a:rPr>
              <a:t>កញ្ចប់ឧបករណ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  <a:hlinkClick r:id="rId5"/>
              </a:rPr>
              <a:t>៍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  <a:hlinkClick r:id="rId5"/>
              </a:rPr>
              <a:t>សំរាប់អង្គការតាមសហគមន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  <a:hlinkClick r:id="rId5"/>
              </a:rPr>
              <a:t>៍៖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  <a:hlinkClick r:id="rId5"/>
              </a:rPr>
              <a:t>ការបាន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  <a:hlinkClick r:id="rId5"/>
              </a:rPr>
              <a:t>           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  <a:hlinkClick r:id="rId5"/>
              </a:rPr>
              <a:t>ចាប់ផ្ដើម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  <a:hlinkClick r:id="rId5"/>
              </a:rPr>
              <a:t> </a:t>
            </a:r>
            <a:r>
              <a:rPr lang="fr-CA" sz="2500" dirty="0">
                <a:latin typeface="Calibri" panose="020F0502020204030204" pitchFamily="34" charset="0"/>
                <a:cs typeface="Calibri" panose="020F0502020204030204" pitchFamily="34" charset="0"/>
                <a:hlinkClick r:id="rId5"/>
              </a:rPr>
              <a:t>| CDC</a:t>
            </a:r>
          </a:p>
          <a:p>
            <a:endParaRPr lang="en-US" sz="12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>
              <a:lnSpc>
                <a:spcPts val="3400"/>
              </a:lnSpc>
            </a:pP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្រដាសការណ៍ពិត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្ដីពីប្រធានបទ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ូចជាការពាក់ម៉ាស្ក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គម្លាតសង្គម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ការបញ្ឈប់ការរាលដាលនូវ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         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េរោគ</a:t>
            </a:r>
            <a:endParaRPr lang="fr-CA" sz="22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>
              <a:lnSpc>
                <a:spcPts val="3400"/>
              </a:lnSpc>
            </a:pPr>
            <a:r>
              <a:rPr lang="fr-CA" sz="2200" u="sng" dirty="0" err="1">
                <a:latin typeface="Kh Content" panose="02000500000000020004" pitchFamily="2" charset="0"/>
                <a:cs typeface="Kh Content" panose="02000500000000020004" pitchFamily="2" charset="0"/>
                <a:hlinkClick r:id="rId6"/>
              </a:rPr>
              <a:t>ក្រដាសការណ៍ពិត</a:t>
            </a:r>
            <a:r>
              <a:rPr lang="fr-CA" sz="2200" u="sng" dirty="0">
                <a:latin typeface="Kh Content" panose="02000500000000020004" pitchFamily="2" charset="0"/>
                <a:cs typeface="Kh Content" panose="02000500000000020004" pitchFamily="2" charset="0"/>
                <a:hlinkClick r:id="rId6"/>
              </a:rPr>
              <a:t> </a:t>
            </a:r>
            <a:r>
              <a:rPr lang="fr-CA" sz="2500" u="sng" dirty="0">
                <a:latin typeface="Calibri" panose="020F0502020204030204" pitchFamily="34" charset="0"/>
                <a:cs typeface="Calibri" panose="020F0502020204030204" pitchFamily="34" charset="0"/>
                <a:hlinkClick r:id="rId6"/>
              </a:rPr>
              <a:t>COVID-19</a:t>
            </a:r>
            <a:r>
              <a:rPr lang="fr-CA" sz="2400" u="sng" dirty="0">
                <a:latin typeface="Calibri" panose="020F0502020204030204" pitchFamily="34" charset="0"/>
                <a:cs typeface="Calibri" panose="020F0502020204030204" pitchFamily="34" charset="0"/>
                <a:hlinkClick r:id="rId6"/>
              </a:rPr>
              <a:t> </a:t>
            </a:r>
            <a:r>
              <a:rPr lang="fr-CA" sz="2200" u="sng" dirty="0" err="1">
                <a:latin typeface="Kh Content" panose="02000500000000020004" pitchFamily="2" charset="0"/>
                <a:cs typeface="Kh Content" panose="02000500000000020004" pitchFamily="2" charset="0"/>
                <a:hlinkClick r:id="rId6"/>
              </a:rPr>
              <a:t>អាចផ្ដិតបាន</a:t>
            </a:r>
            <a:r>
              <a:rPr lang="fr-CA" sz="2200" u="sng" dirty="0">
                <a:latin typeface="Kh Content" panose="02000500000000020004" pitchFamily="2" charset="0"/>
                <a:cs typeface="Kh Content" panose="02000500000000020004" pitchFamily="2" charset="0"/>
                <a:hlinkClick r:id="rId6"/>
              </a:rPr>
              <a:t> </a:t>
            </a:r>
            <a:r>
              <a:rPr lang="fr-CA" sz="2500" u="sng" dirty="0">
                <a:latin typeface="Calibri" panose="020F0502020204030204" pitchFamily="34" charset="0"/>
                <a:cs typeface="Calibri" panose="020F0502020204030204" pitchFamily="34" charset="0"/>
                <a:hlinkClick r:id="rId6"/>
              </a:rPr>
              <a:t>| Mass.gov</a:t>
            </a:r>
          </a:p>
        </p:txBody>
      </p:sp>
    </p:spTree>
    <p:extLst>
      <p:ext uri="{BB962C8B-B14F-4D97-AF65-F5344CB8AC3E}">
        <p14:creationId xmlns:p14="http://schemas.microsoft.com/office/powerpoint/2010/main" val="2180117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9F4D63-99E7-428F-B121-DD911185C0C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3978" y="1584321"/>
            <a:ext cx="10844463" cy="4351338"/>
          </a:xfrm>
        </p:spPr>
        <p:txBody>
          <a:bodyPr>
            <a:normAutofit fontScale="92500"/>
          </a:bodyPr>
          <a:lstStyle/>
          <a:p>
            <a:pPr marL="0" indent="0" fontAlgn="base">
              <a:lnSpc>
                <a:spcPts val="3500"/>
              </a:lnSpc>
              <a:buNone/>
            </a:pP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្រសួងសុខភាពសាធារណៈ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រដ្ឋម៉ាស្សាជូសេត្ដ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ទទួលស្គាល់ថាជាប្រវិត្ដសាស្រ្ដ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នៅបច្ចុប្បន្ន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ូវ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km-KH" sz="2200" u="sng" dirty="0">
                <a:latin typeface="Kh Content" panose="02000500000000020004" pitchFamily="2" charset="0"/>
                <a:cs typeface="Kh Content" panose="02000500000000020004" pitchFamily="2" charset="0"/>
                <a:hlinkClick r:id="rId3"/>
              </a:rPr>
              <a:t>រចនាសម្ព័ន្ធ</a:t>
            </a:r>
            <a:r>
              <a:rPr lang="en-US" sz="2200" u="sng" dirty="0">
                <a:latin typeface="Kh Content" panose="02000500000000020004" pitchFamily="2" charset="0"/>
                <a:cs typeface="Kh Content" panose="02000500000000020004" pitchFamily="2" charset="0"/>
                <a:hlinkClick r:id="rId3"/>
              </a:rPr>
              <a:t> </a:t>
            </a:r>
            <a:r>
              <a:rPr lang="km-KH" sz="2200" u="sng" dirty="0">
                <a:latin typeface="Kh Content" panose="02000500000000020004" pitchFamily="2" charset="0"/>
                <a:cs typeface="Kh Content" panose="02000500000000020004" pitchFamily="2" charset="0"/>
                <a:hlinkClick r:id="rId3"/>
              </a:rPr>
              <a:t>ការប្រកាន់ជាតិសាសន៍</a:t>
            </a:r>
            <a:r>
              <a:rPr lang="en-US" sz="2000" dirty="0"/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រចនាសម្ព័ន្ធការប្រកាន់ជាតិសាសន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៍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ាររើសអើងនឹងជនពិការ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ទំរង់ផ្សេងទៀតនៃការជិះជាន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ានធ្វើឲ្យពិបាក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ំរាប់សហគមន៍ខ្លះ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(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ូចជា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នុស្សស្បែកខ្មៅ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មនុស្សដែលពិការ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)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ើម្បីទុកចិត្ដ</a:t>
            </a:r>
            <a:endParaRPr lang="fr-CA" sz="22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marL="0" indent="0" fontAlgn="base">
              <a:lnSpc>
                <a:spcPts val="3500"/>
              </a:lnSpc>
              <a:spcBef>
                <a:spcPts val="0"/>
              </a:spcBef>
              <a:buNone/>
            </a:pP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លើសុខភាពសាធារណៈ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ហគមន៍ពេទ្យ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វិទ្យាសាស្រ្ដ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។ 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យើងចង់បើកចិត្ដ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ស្មោះត្រង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ំពីសុវត្ថិភាព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ការបង្កើតវ៉ាក់សាំង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500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—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្វីៗដែលយើងដឹង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អ្វីៗដែលយើងមិនដឹង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</a:p>
          <a:p>
            <a:pPr marL="0" indent="0" fontAlgn="base">
              <a:lnSpc>
                <a:spcPts val="3500"/>
              </a:lnSpc>
              <a:spcBef>
                <a:spcPts val="0"/>
              </a:spcBef>
              <a:buNone/>
            </a:pPr>
            <a:endParaRPr lang="en-US" sz="22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marL="0" indent="0" fontAlgn="base">
              <a:lnSpc>
                <a:spcPts val="3500"/>
              </a:lnSpc>
              <a:buNone/>
            </a:pP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គ្គុទ្ទេសក៍នេះ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ផ្ដល់គ្រឹះដើម្បីមានការសន្ទនាទាំងនេះ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៉ុន្ដែមិនដោះស្រាយ</a:t>
            </a:r>
            <a:r>
              <a:rPr lang="km-KH" sz="2200" dirty="0">
                <a:latin typeface="Kh Content" panose="02000500000000020004" pitchFamily="2" charset="0"/>
                <a:cs typeface="Kh Content" panose="02000500000000020004" pitchFamily="2" charset="0"/>
              </a:rPr>
              <a:t>ភាពប្លែក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ទាំងអស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សេចក្ដីត្រូវការ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កង្វល់ពិត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ៗ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ៃប្រជាជន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សហគមន៍ខុសគ្នាឡើយ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យើងសូមជំរុញទឹកចិត្ដអ្នក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ឲ្យធ្វើទៅតាមភាសា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</a:t>
            </a:r>
            <a:endParaRPr lang="fr-CA" sz="22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marL="0" indent="0" fontAlgn="base">
              <a:lnSpc>
                <a:spcPts val="3500"/>
              </a:lnSpc>
              <a:spcBef>
                <a:spcPts val="0"/>
              </a:spcBef>
              <a:buNone/>
            </a:pP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ទំរង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្នុងរបៀបដែលជាក់ស្ដែងបំផុត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ខ្ទរខ្ទារ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សំរាប់ប្រជាជន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ែលអ្នកធ្វើការជាមួយ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។  </a:t>
            </a:r>
            <a:r>
              <a:rPr lang="fr-CA" sz="2400" dirty="0"/>
              <a:t> </a:t>
            </a:r>
          </a:p>
          <a:p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C7C4C383-9AF6-4FE7-8D19-DD844A3BB0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3976" y="150473"/>
            <a:ext cx="10515600" cy="1325563"/>
          </a:xfrm>
        </p:spPr>
        <p:txBody>
          <a:bodyPr>
            <a:normAutofit/>
          </a:bodyPr>
          <a:lstStyle/>
          <a:p>
            <a:pPr algn="ctr">
              <a:lnSpc>
                <a:spcPts val="4400"/>
              </a:lnSpc>
              <a:spcAft>
                <a:spcPts val="1200"/>
              </a:spcAft>
            </a:pPr>
            <a:r>
              <a:rPr lang="fr-CA" sz="3000" b="1">
                <a:latin typeface="Kh Content" panose="02000500000000020004" pitchFamily="2" charset="0"/>
                <a:cs typeface="Kh Content" panose="02000500000000020004" pitchFamily="2" charset="0"/>
              </a:rPr>
              <a:t>ការទទួលស្គាល់ នូវរចនាសម្ព័ន្ធការប្រកាន់ជាតិសាសន៍ ការរើសអើង  </a:t>
            </a:r>
            <a:br>
              <a:rPr lang="fr-CA" sz="3000" b="1">
                <a:latin typeface="Kh Content" panose="02000500000000020004" pitchFamily="2" charset="0"/>
                <a:cs typeface="Kh Content" panose="02000500000000020004" pitchFamily="2" charset="0"/>
              </a:rPr>
            </a:br>
            <a:r>
              <a:rPr lang="fr-CA" sz="3000" b="1">
                <a:latin typeface="Kh Content" panose="02000500000000020004" pitchFamily="2" charset="0"/>
                <a:cs typeface="Kh Content" panose="02000500000000020004" pitchFamily="2" charset="0"/>
              </a:rPr>
              <a:t>និងទំរង់ផ្សេងទៀតនៃការជិះជាន់</a:t>
            </a:r>
          </a:p>
        </p:txBody>
      </p:sp>
    </p:spTree>
    <p:extLst>
      <p:ext uri="{BB962C8B-B14F-4D97-AF65-F5344CB8AC3E}">
        <p14:creationId xmlns:p14="http://schemas.microsoft.com/office/powerpoint/2010/main" val="39850475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C196E34-67BE-44FC-8877-1C87128A9C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9D0EE-DE7F-324B-A84C-F36708423CDB}" type="slidenum">
              <a:rPr lang="en-US" sz="1000" smtClean="0">
                <a:solidFill>
                  <a:srgbClr val="464646">
                    <a:lumMod val="40000"/>
                    <a:lumOff val="6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5</a:t>
            </a:fld>
            <a:endParaRPr lang="en-US" sz="1000">
              <a:solidFill>
                <a:srgbClr val="464646">
                  <a:lumMod val="40000"/>
                  <a:lumOff val="60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738515A-DC24-4FF1-85F9-68F50ED8147F}"/>
              </a:ext>
            </a:extLst>
          </p:cNvPr>
          <p:cNvSpPr txBox="1"/>
          <p:nvPr/>
        </p:nvSpPr>
        <p:spPr>
          <a:xfrm>
            <a:off x="178625" y="233825"/>
            <a:ext cx="11314323" cy="46166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fr-CA" sz="3000" dirty="0" err="1">
                <a:latin typeface="Kh Content" panose="02000500000000020004" pitchFamily="2" charset="0"/>
                <a:cs typeface="Kh Content" panose="02000500000000020004" pitchFamily="2" charset="0"/>
              </a:rPr>
              <a:t>តើ</a:t>
            </a:r>
            <a:r>
              <a:rPr lang="km-KH" sz="3000" dirty="0">
                <a:latin typeface="Kh Content" panose="02000500000000020004" pitchFamily="2" charset="0"/>
                <a:cs typeface="Kh Content" panose="02000500000000020004" pitchFamily="2" charset="0"/>
              </a:rPr>
              <a:t>វ៉ា​</a:t>
            </a:r>
            <a:r>
              <a:rPr lang="fr-CA" sz="30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់សាំងជាអ្វី</a:t>
            </a:r>
            <a:r>
              <a:rPr lang="fr-CA" sz="3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30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តើវាធ្វើការដូចម្ដេច</a:t>
            </a:r>
            <a:r>
              <a:rPr lang="fr-CA" sz="3000" dirty="0">
                <a:latin typeface="Kh Content" panose="02000500000000020004" pitchFamily="2" charset="0"/>
                <a:cs typeface="Kh Content" panose="02000500000000020004" pitchFamily="2" charset="0"/>
              </a:rPr>
              <a:t>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069143-FE01-453C-934A-DAA4862AED31}"/>
              </a:ext>
            </a:extLst>
          </p:cNvPr>
          <p:cNvSpPr/>
          <p:nvPr/>
        </p:nvSpPr>
        <p:spPr>
          <a:xfrm>
            <a:off x="504498" y="1377720"/>
            <a:ext cx="10988451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ts val="3600"/>
              </a:lnSpc>
              <a:buFont typeface="Arial" panose="020B0604020202020204" pitchFamily="34" charset="0"/>
              <a:buChar char="•"/>
            </a:pP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៉ាក់សាំងការពារជំងឺ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ែលអាចជាគ្រោះថ្នាក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ឬសូម្បីតែស្លាប់ផង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ាធ្វើការជាមួយ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្រព័ន្ធការពារខ្លួនជាធម្មជាតិរបស់ខ្លួនអ្នក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ើម្បីបង្កើត</a:t>
            </a:r>
            <a:r>
              <a:rPr lang="km-KH" sz="2200" dirty="0">
                <a:latin typeface="Kh Content" panose="02000500000000020004" pitchFamily="2" charset="0"/>
                <a:cs typeface="Kh Content" panose="02000500000000020004" pitchFamily="2" charset="0"/>
              </a:rPr>
              <a:t>ការការ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ពារដោយសុវត្ថិភាព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ពីជំងឺ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។  </a:t>
            </a:r>
          </a:p>
          <a:p>
            <a:pPr marL="342900" indent="-342900">
              <a:lnSpc>
                <a:spcPts val="3600"/>
              </a:lnSpc>
              <a:buFont typeface="Arial" panose="020B0604020202020204" pitchFamily="34" charset="0"/>
              <a:buChar char="•"/>
            </a:pPr>
            <a:endParaRPr lang="en-US" sz="22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marL="342900" indent="-342900">
              <a:lnSpc>
                <a:spcPts val="3600"/>
              </a:lnSpc>
              <a:buFont typeface="Arial" panose="020B0604020202020204" pitchFamily="34" charset="0"/>
              <a:buChar char="•"/>
            </a:pP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៉ាក់សាំងជួយប្រព័ន្ធស៊ាំរោគរបស់អ្នក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ើម្បីផលិតអង្គបដិបក្ខប្រាណ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ូចជាវានឹងធ្វើ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ើសិនអ្នកបានប៉ះត្រូវជំងឺ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ន្ទាប់ពីបានចាក់វ៉ាក់សាំងរួច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អ្នកមាន</a:t>
            </a:r>
            <a:r>
              <a:rPr lang="km-KH" sz="2200" dirty="0">
                <a:latin typeface="Kh Content" panose="02000500000000020004" pitchFamily="2" charset="0"/>
                <a:cs typeface="Kh Content" panose="02000500000000020004" pitchFamily="2" charset="0"/>
              </a:rPr>
              <a:t>ការការ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ពារពីជំងឺនោះ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ោយមិនមានកើតជំងឺជាមុនឡើយ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</a:p>
          <a:p>
            <a:pPr marL="342900" indent="-342900">
              <a:lnSpc>
                <a:spcPts val="3600"/>
              </a:lnSpc>
              <a:buFont typeface="Arial" panose="020B0604020202020204" pitchFamily="34" charset="0"/>
              <a:buChar char="•"/>
            </a:pPr>
            <a:endParaRPr lang="en-US" sz="22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marL="342900" indent="-342900">
              <a:lnSpc>
                <a:spcPts val="3600"/>
              </a:lnSpc>
              <a:buFont typeface="Arial" panose="020B0604020202020204" pitchFamily="34" charset="0"/>
              <a:buChar char="•"/>
            </a:pP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េះគឺជាអ្វីដែលធ្វើឲ្យវ៉ាក់សាំង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ជាថ្នាំដ៏មានអំណាចខ្លាំង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ិនដូចថ្នាំភាគច្រើនទេ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ែលព្យាបាល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        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ឬធ្វើឲ្យជំងឺជា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តែវ៉ាក់សាំង</a:t>
            </a:r>
            <a:r>
              <a:rPr lang="fr-CA" sz="2200" i="1" dirty="0" err="1">
                <a:latin typeface="Kh Content" panose="02000500000000020004" pitchFamily="2" charset="0"/>
                <a:cs typeface="Kh Content" panose="02000500000000020004" pitchFamily="2" charset="0"/>
              </a:rPr>
              <a:t>ការពារ</a:t>
            </a:r>
            <a:r>
              <a:rPr lang="fr-CA" sz="2200" i="1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2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ា</a:t>
            </a:r>
            <a:r>
              <a:rPr lang="fr-CA" sz="2200" dirty="0"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</a:p>
          <a:p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27287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C196E34-67BE-44FC-8877-1C87128A9C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9D0EE-DE7F-324B-A84C-F36708423CDB}" type="slidenum">
              <a:rPr lang="en-US" sz="1000" smtClean="0">
                <a:solidFill>
                  <a:srgbClr val="464646">
                    <a:lumMod val="40000"/>
                    <a:lumOff val="6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6</a:t>
            </a:fld>
            <a:endParaRPr lang="en-US" sz="1000">
              <a:solidFill>
                <a:srgbClr val="464646">
                  <a:lumMod val="40000"/>
                  <a:lumOff val="60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738515A-DC24-4FF1-85F9-68F50ED8147F}"/>
              </a:ext>
            </a:extLst>
          </p:cNvPr>
          <p:cNvSpPr txBox="1"/>
          <p:nvPr/>
        </p:nvSpPr>
        <p:spPr>
          <a:xfrm>
            <a:off x="178625" y="233825"/>
            <a:ext cx="11314323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fr-CA" sz="3000" dirty="0" err="1">
                <a:latin typeface="Kh Content" panose="02000500000000020004" pitchFamily="2" charset="0"/>
                <a:cs typeface="Kh Content" panose="02000500000000020004" pitchFamily="2" charset="0"/>
              </a:rPr>
              <a:t>តើការទទួលវ៉ាក់សាំង</a:t>
            </a:r>
            <a:r>
              <a:rPr lang="fr-CA" sz="3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3200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3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30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ានអត្ថប្រយោជន៍អ្វីខ្លះ</a:t>
            </a:r>
            <a:r>
              <a:rPr lang="fr-CA" sz="3000" dirty="0">
                <a:latin typeface="Kh Content" panose="02000500000000020004" pitchFamily="2" charset="0"/>
                <a:cs typeface="Kh Content" panose="02000500000000020004" pitchFamily="2" charset="0"/>
              </a:rPr>
              <a:t>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069143-FE01-453C-934A-DAA4862AED31}"/>
              </a:ext>
            </a:extLst>
          </p:cNvPr>
          <p:cNvSpPr/>
          <p:nvPr/>
        </p:nvSpPr>
        <p:spPr>
          <a:xfrm>
            <a:off x="504497" y="1213945"/>
            <a:ext cx="7806990" cy="38882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ts val="3200"/>
              </a:lnSpc>
              <a:buFont typeface="Arial" panose="020B0604020202020204" pitchFamily="34" charset="0"/>
              <a:buChar char="•"/>
            </a:pP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ការចាក់វ៉ាក់សាំង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នឹងជួយរក្សាអ្នក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ពីការឈឺថ្កាត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មកពី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</a:p>
          <a:p>
            <a:pPr marL="342900" indent="-342900">
              <a:lnSpc>
                <a:spcPts val="32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វ៉ាក់សាំង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ទាំងអស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ដែលមាននៅក្នុងសហរដ្ឋ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បានបង្ហាញថាមានប្រសិទ្ធិភាពណាស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់។ </a:t>
            </a:r>
          </a:p>
          <a:p>
            <a:pPr marL="342900" indent="-342900">
              <a:lnSpc>
                <a:spcPts val="32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ការរួមផ្សំនូវការចាក់វ៉ាក់សាំង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ការធ្វើតាមអនុសាសន៍របស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មជ្ឈមណ្ឌលសំរាប់ទប់ស្កាត់ជំងឺ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>
                <a:latin typeface="Calibri" panose="020F0502020204030204" pitchFamily="34" charset="0"/>
                <a:cs typeface="Calibri" panose="020F0502020204030204" pitchFamily="34" charset="0"/>
              </a:rPr>
              <a:t>(Centers for </a:t>
            </a:r>
            <a:r>
              <a:rPr lang="fr-CA" sz="2100" dirty="0" err="1">
                <a:latin typeface="Calibri" panose="020F0502020204030204" pitchFamily="34" charset="0"/>
                <a:cs typeface="Calibri" panose="020F0502020204030204" pitchFamily="34" charset="0"/>
              </a:rPr>
              <a:t>Disease</a:t>
            </a:r>
            <a:r>
              <a:rPr lang="fr-CA" sz="2100" dirty="0">
                <a:latin typeface="Calibri" panose="020F0502020204030204" pitchFamily="34" charset="0"/>
                <a:cs typeface="Calibri" panose="020F0502020204030204" pitchFamily="34" charset="0"/>
              </a:rPr>
              <a:t> Control, CDC)</a:t>
            </a:r>
            <a:r>
              <a:rPr lang="fr-CA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ដើម្បីការពារខ្លួនអ្នក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អ្នក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   </a:t>
            </a: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ផ្សេង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ៗ </a:t>
            </a: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នឹងផ្ដល់ជូន</a:t>
            </a:r>
            <a:r>
              <a:rPr lang="km-KH" dirty="0">
                <a:latin typeface="Kh Content" panose="02000500000000020004" pitchFamily="2" charset="0"/>
                <a:cs typeface="Kh Content" panose="02000500000000020004" pitchFamily="2" charset="0"/>
              </a:rPr>
              <a:t>ការការ</a:t>
            </a: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ពារល្អបំផុតពី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</a:p>
          <a:p>
            <a:pPr marL="342900" indent="-342900">
              <a:lnSpc>
                <a:spcPts val="32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កាលណាមានមនុស្សច្រើនបានចាក់វ៉ាំក់សាំង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យើងក៏អាចត្រឡប់ទៅជីវិតជាធម្មតារបស់យើង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dirty="0" err="1">
                <a:latin typeface="Kh Content" panose="02000500000000020004" pitchFamily="2" charset="0"/>
                <a:cs typeface="Kh Content" panose="02000500000000020004" pitchFamily="2" charset="0"/>
              </a:rPr>
              <a:t>ឆាប់រហ័សជាងដែរ</a:t>
            </a:r>
            <a:r>
              <a:rPr lang="fr-CA" dirty="0"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</a:p>
        </p:txBody>
      </p:sp>
      <p:pic>
        <p:nvPicPr>
          <p:cNvPr id="6" name="Picture 5" descr="This image is of three people wearing masks.">
            <a:extLst>
              <a:ext uri="{FF2B5EF4-FFF2-40B4-BE49-F238E27FC236}">
                <a16:creationId xmlns:a16="http://schemas.microsoft.com/office/drawing/2014/main" id="{1EBD1F6A-72C6-49BE-A55E-8D752746B2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75052" y="1945843"/>
            <a:ext cx="3343910" cy="30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4582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C196E34-67BE-44FC-8877-1C87128A9C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9D0EE-DE7F-324B-A84C-F36708423CDB}" type="slidenum">
              <a:rPr lang="en-US" sz="1000" smtClean="0">
                <a:solidFill>
                  <a:srgbClr val="464646">
                    <a:lumMod val="40000"/>
                    <a:lumOff val="6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7</a:t>
            </a:fld>
            <a:endParaRPr lang="en-US" sz="1000">
              <a:solidFill>
                <a:srgbClr val="464646">
                  <a:lumMod val="40000"/>
                  <a:lumOff val="60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738515A-DC24-4FF1-85F9-68F50ED8147F}"/>
              </a:ext>
            </a:extLst>
          </p:cNvPr>
          <p:cNvSpPr txBox="1"/>
          <p:nvPr/>
        </p:nvSpPr>
        <p:spPr>
          <a:xfrm>
            <a:off x="178625" y="233825"/>
            <a:ext cx="11314323" cy="46166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fr-CA" sz="3000">
                <a:latin typeface="Kh Content" panose="02000500000000020004" pitchFamily="2" charset="0"/>
                <a:cs typeface="Kh Content" panose="02000500000000020004" pitchFamily="2" charset="0"/>
              </a:rPr>
              <a:t>តើមានវ៉ាក់សាំងអ្វីខ្លះ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069143-FE01-453C-934A-DAA4862AED31}"/>
              </a:ext>
            </a:extLst>
          </p:cNvPr>
          <p:cNvSpPr/>
          <p:nvPr/>
        </p:nvSpPr>
        <p:spPr>
          <a:xfrm>
            <a:off x="354842" y="1178195"/>
            <a:ext cx="8832701" cy="5509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ts val="36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ានវ៉ាក់សាំងបីមុខ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ែល</a:t>
            </a:r>
            <a:r>
              <a:rPr lang="km-KH" sz="2100" dirty="0">
                <a:latin typeface="Kh Content" panose="02000500000000020004" pitchFamily="2" charset="0"/>
                <a:cs typeface="Kh Content" panose="02000500000000020004" pitchFamily="2" charset="0"/>
              </a:rPr>
              <a:t>ត្រូវ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ាន</a:t>
            </a:r>
            <a:r>
              <a:rPr lang="km-KH" sz="2100" dirty="0">
                <a:latin typeface="Kh Content" panose="02000500000000020004" pitchFamily="2" charset="0"/>
                <a:cs typeface="Kh Content" panose="02000500000000020004" pitchFamily="2" charset="0"/>
              </a:rPr>
              <a:t>អនុញ្ញាត ឬ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ទទួល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​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ារអនុញ្ញាតឲ្យប្រើបន្ទាន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កពីនាយកដ្ឋានភោជនភណ្ឌ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ឱសថូបករណ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៍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ានឈ្មោះថា</a:t>
            </a:r>
            <a:r>
              <a:rPr lang="fr-CA" sz="24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Pfizer/</a:t>
            </a:r>
            <a:r>
              <a:rPr lang="fr-CA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Comirnaty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, Moderna,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Janssen (Johnson &amp; Johnson</a:t>
            </a:r>
            <a:r>
              <a:rPr lang="fr-CA" sz="23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ឬ 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J&amp;J)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endParaRPr lang="en-US" sz="21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marL="342900" indent="-342900">
              <a:lnSpc>
                <a:spcPts val="36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៉ាក់សាំង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ទាំងបីមុខដែលគឺមានសុវត្ថិភាព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ប្រសិទ្ធិភាពខ្ពង់ខ្ពស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់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ប្រឆាំងនឹងការឈឺថ្កាត់ធ្ងន់ធ្ងរ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ការដេកពេទ្យ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ការស្លាប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់។</a:t>
            </a:r>
            <a:endParaRPr lang="en-US" sz="21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marL="342900" indent="-342900">
              <a:lnSpc>
                <a:spcPts val="36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៉ាក់សាំង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Pfizer/</a:t>
            </a:r>
            <a:r>
              <a:rPr lang="fr-CA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Comirnaty</a:t>
            </a:r>
            <a:r>
              <a:rPr lang="fr-CA" sz="23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និង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Moderna</a:t>
            </a:r>
            <a:r>
              <a:rPr lang="fr-CA" sz="23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ត្រូវការ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ូស្ស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ោយបានឲ្យយ៉ាងហោច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3-4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km-KH" sz="2100" dirty="0">
                <a:latin typeface="Kh Content" panose="02000500000000020004" pitchFamily="2" charset="0"/>
                <a:cs typeface="Kh Content" panose="02000500000000020004" pitchFamily="2" charset="0"/>
              </a:rPr>
              <a:t>អាទិត្យ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ឃ្លាតពីគ្នា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។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នុស្សគួរតែទទួលទាំងពីរដូស្ស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ទើបបានចាក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់</a:t>
            </a:r>
            <a:endParaRPr lang="km-KH" sz="21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>
              <a:lnSpc>
                <a:spcPts val="3600"/>
              </a:lnSpc>
              <a:spcAft>
                <a:spcPts val="1200"/>
              </a:spcAft>
            </a:pPr>
            <a:r>
              <a:rPr lang="km-KH" sz="2100" dirty="0">
                <a:latin typeface="Kh Content" panose="02000500000000020004" pitchFamily="2" charset="0"/>
                <a:cs typeface="Kh Content" panose="02000500000000020004" pitchFamily="2" charset="0"/>
              </a:rPr>
              <a:t>    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វ៉ាក់សាំងពេញ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ើម្បីឲ្យមានប្រសិទ្ធិភាព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  <a:endParaRPr lang="en-US" sz="2100" dirty="0">
              <a:latin typeface="Kh Content" panose="02000500000000020004" pitchFamily="2" charset="0"/>
              <a:cs typeface="Kh Content" panose="02000500000000020004" pitchFamily="2" charset="0"/>
            </a:endParaRPr>
          </a:p>
          <a:p>
            <a:pPr marL="342900" indent="-342900">
              <a:lnSpc>
                <a:spcPts val="3600"/>
              </a:lnSpc>
              <a:buFont typeface="Arial" panose="020B0604020202020204" pitchFamily="34" charset="0"/>
              <a:buChar char="•"/>
            </a:pP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Johnson &amp; Johnson (J&amp;J)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គឺតែ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400" dirty="0"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2100" dirty="0" err="1">
                <a:latin typeface="Kh Content" panose="02000500000000020004" pitchFamily="2" charset="0"/>
                <a:cs typeface="Kh Content" panose="02000500000000020004" pitchFamily="2" charset="0"/>
              </a:rPr>
              <a:t>ដូស្សប៉ុណ្ណោះ</a:t>
            </a:r>
            <a:r>
              <a:rPr lang="fr-CA" sz="2100" dirty="0">
                <a:latin typeface="Kh Content" panose="02000500000000020004" pitchFamily="2" charset="0"/>
                <a:cs typeface="Kh Content" panose="02000500000000020004" pitchFamily="2" charset="0"/>
              </a:rPr>
              <a:t>។</a:t>
            </a: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Picture 4" descr="This is an image of a medicine bottle that is labeled &quot;COVID-19 vaccine&quot;">
            <a:extLst>
              <a:ext uri="{FF2B5EF4-FFF2-40B4-BE49-F238E27FC236}">
                <a16:creationId xmlns:a16="http://schemas.microsoft.com/office/drawing/2014/main" id="{BE55B62F-4DC4-490E-BD71-34766C9A61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3439" y="1901277"/>
            <a:ext cx="2407335" cy="3416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08066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3" name="Google Shape;413;p80"/>
          <p:cNvSpPr txBox="1">
            <a:spLocks noGrp="1"/>
          </p:cNvSpPr>
          <p:nvPr>
            <p:ph type="sldNum" idx="12"/>
          </p:nvPr>
        </p:nvSpPr>
        <p:spPr>
          <a:xfrm>
            <a:off x="8756534" y="6492504"/>
            <a:ext cx="273641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</a:pPr>
            <a:fld id="{00000000-1234-1234-1234-123412341234}" type="slidenum">
              <a:rPr lang="en-US" sz="1000" smtClean="0">
                <a:latin typeface="Calibri" panose="020F0502020204030204" pitchFamily="34" charset="0"/>
                <a:cs typeface="Calibri" panose="020F0502020204030204" pitchFamily="34" charset="0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SzPts val="900"/>
                <a:buNone/>
              </a:pPr>
              <a:t>8</a:t>
            </a:fld>
            <a:endParaRPr lang="en-US" sz="10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15" name="Google Shape;415;p80" descr="lmage of three people"/>
          <p:cNvPicPr preferRelativeResize="0"/>
          <p:nvPr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7903" y="3178085"/>
            <a:ext cx="1590350" cy="1581257"/>
          </a:xfrm>
          <a:prstGeom prst="rect">
            <a:avLst/>
          </a:prstGeom>
          <a:noFill/>
          <a:ln>
            <a:noFill/>
          </a:ln>
        </p:spPr>
      </p:pic>
      <p:pic>
        <p:nvPicPr>
          <p:cNvPr id="416" name="Google Shape;416;p80" descr="lmage of six people"/>
          <p:cNvPicPr preferRelativeResize="0"/>
          <p:nvPr/>
        </p:nvPicPr>
        <p:blipFill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51523" y="4863450"/>
            <a:ext cx="1503115" cy="1494525"/>
          </a:xfrm>
          <a:prstGeom prst="rect">
            <a:avLst/>
          </a:prstGeom>
          <a:noFill/>
          <a:ln>
            <a:noFill/>
          </a:ln>
        </p:spPr>
      </p:pic>
      <p:pic>
        <p:nvPicPr>
          <p:cNvPr id="417" name="Google Shape;417;p80" descr="Image of a syringe"/>
          <p:cNvPicPr preferRelativeResize="0"/>
          <p:nvPr/>
        </p:nvPicPr>
        <p:blipFill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68725" y="1598888"/>
            <a:ext cx="1668700" cy="1579198"/>
          </a:xfrm>
          <a:prstGeom prst="rect">
            <a:avLst/>
          </a:prstGeom>
          <a:noFill/>
          <a:ln>
            <a:noFill/>
          </a:ln>
        </p:spPr>
      </p:pic>
      <p:sp>
        <p:nvSpPr>
          <p:cNvPr id="418" name="Google Shape;418;p80"/>
          <p:cNvSpPr txBox="1"/>
          <p:nvPr/>
        </p:nvSpPr>
        <p:spPr>
          <a:xfrm>
            <a:off x="3490475" y="2126888"/>
            <a:ext cx="6054900" cy="5231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CA" sz="2200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មនុស្សមួយក្រុមតូច ទទួលវ៉ាក់សាំងសាក</a:t>
            </a:r>
          </a:p>
        </p:txBody>
      </p:sp>
      <p:sp>
        <p:nvSpPr>
          <p:cNvPr id="419" name="Google Shape;419;p80"/>
          <p:cNvSpPr txBox="1"/>
          <p:nvPr/>
        </p:nvSpPr>
        <p:spPr>
          <a:xfrm>
            <a:off x="3490475" y="3560175"/>
            <a:ext cx="8349000" cy="10566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ts val="34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CA" sz="2200" dirty="0" err="1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វ៉ាក់សាំងត្រូវបានឲ្យទៅក្រុមមនុស្សខ្លះ</a:t>
            </a:r>
            <a:r>
              <a:rPr lang="fr-CA" sz="2200" dirty="0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 (</a:t>
            </a:r>
            <a:r>
              <a:rPr lang="fr-CA" sz="2200" dirty="0" err="1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ដូចជា</a:t>
            </a:r>
            <a:r>
              <a:rPr lang="fr-CA" sz="2200" dirty="0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 </a:t>
            </a:r>
            <a:r>
              <a:rPr lang="fr-CA" sz="2200" dirty="0" err="1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តាមអាយុ</a:t>
            </a:r>
            <a:r>
              <a:rPr lang="fr-CA" sz="2200" dirty="0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, </a:t>
            </a:r>
            <a:r>
              <a:rPr lang="fr-CA" sz="2200" dirty="0" err="1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សាសន</a:t>
            </a:r>
            <a:r>
              <a:rPr lang="fr-CA" sz="2200" dirty="0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៍, </a:t>
            </a:r>
            <a:r>
              <a:rPr lang="fr-CA" sz="2200" dirty="0" err="1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និង</a:t>
            </a:r>
            <a:r>
              <a:rPr lang="fr-CA" sz="2200" dirty="0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        </a:t>
            </a:r>
            <a:r>
              <a:rPr lang="fr-CA" sz="2200" dirty="0" err="1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សុខភាពកាយ</a:t>
            </a:r>
            <a:r>
              <a:rPr lang="fr-CA" sz="2200" dirty="0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)។</a:t>
            </a:r>
          </a:p>
        </p:txBody>
      </p:sp>
      <p:sp>
        <p:nvSpPr>
          <p:cNvPr id="420" name="Google Shape;420;p80"/>
          <p:cNvSpPr txBox="1"/>
          <p:nvPr/>
        </p:nvSpPr>
        <p:spPr>
          <a:xfrm>
            <a:off x="3490475" y="5179775"/>
            <a:ext cx="7210200" cy="10566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ts val="34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CA" sz="2200" dirty="0" err="1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វ៉ាក់សាំងត្រូវបានឲ្យទៅមនុស្សរាប់ម៉ឺននាក</a:t>
            </a:r>
            <a:r>
              <a:rPr lang="fr-CA" sz="2200" dirty="0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់ </a:t>
            </a:r>
            <a:r>
              <a:rPr lang="fr-CA" sz="2200" dirty="0" err="1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និងបានធ្វើតេស្ដ</a:t>
            </a:r>
            <a:r>
              <a:rPr lang="fr-CA" sz="2200" dirty="0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 </a:t>
            </a:r>
            <a:r>
              <a:rPr lang="fr-CA" sz="2200" dirty="0" err="1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សំរាប់ប្រសិទ្ធិភាព</a:t>
            </a:r>
            <a:r>
              <a:rPr lang="fr-CA" sz="2200" dirty="0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 </a:t>
            </a:r>
            <a:r>
              <a:rPr lang="fr-CA" sz="2200" dirty="0" err="1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និងសុវត្ថិភាព</a:t>
            </a:r>
            <a:r>
              <a:rPr lang="fr-CA" sz="2200" dirty="0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។</a:t>
            </a:r>
          </a:p>
        </p:txBody>
      </p:sp>
      <p:sp>
        <p:nvSpPr>
          <p:cNvPr id="421" name="Google Shape;421;p80"/>
          <p:cNvSpPr txBox="1"/>
          <p:nvPr/>
        </p:nvSpPr>
        <p:spPr>
          <a:xfrm>
            <a:off x="347050" y="1075700"/>
            <a:ext cx="9732900" cy="5231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r>
              <a:rPr lang="fr-CA" sz="2200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វ៉ាក់សាំងឆ្លងកាត់ការធ្វើតេស្ដ ច្រើនជាងឱសថផ្សេងៗទៀត៖</a:t>
            </a:r>
            <a:r>
              <a:rPr lang="fr-CA" sz="2100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 </a:t>
            </a:r>
          </a:p>
        </p:txBody>
      </p:sp>
      <p:pic>
        <p:nvPicPr>
          <p:cNvPr id="422" name="Google Shape;422;p80" descr="Number 1"/>
          <p:cNvPicPr preferRelativeResize="0"/>
          <p:nvPr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06750" y="1708538"/>
            <a:ext cx="548400" cy="5232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23" name="Google Shape;423;p80" descr="Number 2"/>
          <p:cNvPicPr preferRelativeResize="0"/>
          <p:nvPr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06750" y="3287662"/>
            <a:ext cx="548400" cy="519855"/>
          </a:xfrm>
          <a:prstGeom prst="rect">
            <a:avLst/>
          </a:prstGeom>
          <a:noFill/>
          <a:ln>
            <a:noFill/>
          </a:ln>
        </p:spPr>
      </p:pic>
      <p:pic>
        <p:nvPicPr>
          <p:cNvPr id="424" name="Google Shape;424;p80" descr="Number 3"/>
          <p:cNvPicPr preferRelativeResize="0"/>
          <p:nvPr/>
        </p:nvPicPr>
        <p:blipFill>
          <a:blip r:embed="rId8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06750" y="4863450"/>
            <a:ext cx="548400" cy="560244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76549BD-3453-4644-BC83-EC240D19A907}"/>
              </a:ext>
            </a:extLst>
          </p:cNvPr>
          <p:cNvSpPr txBox="1"/>
          <p:nvPr/>
        </p:nvSpPr>
        <p:spPr>
          <a:xfrm>
            <a:off x="178625" y="291388"/>
            <a:ext cx="11314323" cy="46166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fr-CA" sz="3000" dirty="0" err="1">
                <a:latin typeface="Kh Content" panose="02000500000000020004" pitchFamily="2" charset="0"/>
                <a:cs typeface="Kh Content" panose="02000500000000020004" pitchFamily="2" charset="0"/>
              </a:rPr>
              <a:t>តើយើងដឹងបើសិនវ៉ាក់សាំង</a:t>
            </a:r>
            <a:r>
              <a:rPr lang="fr-CA" sz="3000" dirty="0">
                <a:latin typeface="Kh Content" panose="02000500000000020004" pitchFamily="2" charset="0"/>
                <a:cs typeface="Kh Content" panose="02000500000000020004" pitchFamily="2" charset="0"/>
              </a:rPr>
              <a:t> </a:t>
            </a:r>
            <a:r>
              <a:rPr lang="fr-CA" sz="3000" dirty="0" err="1">
                <a:latin typeface="Kh Content" panose="02000500000000020004" pitchFamily="2" charset="0"/>
                <a:cs typeface="Kh Content" panose="02000500000000020004" pitchFamily="2" charset="0"/>
              </a:rPr>
              <a:t>មានសុវត្ថិភាពដូចម្ដេច</a:t>
            </a:r>
            <a:r>
              <a:rPr lang="fr-CA" sz="3000" dirty="0">
                <a:latin typeface="Kh Content" panose="02000500000000020004" pitchFamily="2" charset="0"/>
                <a:cs typeface="Kh Content" panose="02000500000000020004" pitchFamily="2" charset="0"/>
              </a:rPr>
              <a:t>?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" name="Google Shape;430;g79ce8b2f6a_0_51"/>
          <p:cNvSpPr txBox="1">
            <a:spLocks noGrp="1"/>
          </p:cNvSpPr>
          <p:nvPr>
            <p:ph type="sldNum" idx="12"/>
          </p:nvPr>
        </p:nvSpPr>
        <p:spPr>
          <a:xfrm>
            <a:off x="8756534" y="6492504"/>
            <a:ext cx="273641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B5B5B5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</a:pPr>
            <a:fld id="{00000000-1234-1234-1234-123412341234}" type="slidenum">
              <a:rPr lang="en-US" sz="1000" smtClean="0">
                <a:latin typeface="Calibri" panose="020F0502020204030204" pitchFamily="34" charset="0"/>
                <a:cs typeface="Calibri" panose="020F0502020204030204" pitchFamily="34" charset="0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SzPts val="900"/>
                <a:buNone/>
              </a:pPr>
              <a:t>9</a:t>
            </a:fld>
            <a:endParaRPr lang="en-US" sz="10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32" name="Google Shape;432;g79ce8b2f6a_0_51" descr="Check mark"/>
          <p:cNvPicPr preferRelativeResize="0"/>
          <p:nvPr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02813" y="3146125"/>
            <a:ext cx="1669436" cy="1645275"/>
          </a:xfrm>
          <a:prstGeom prst="rect">
            <a:avLst/>
          </a:prstGeom>
          <a:noFill/>
          <a:ln>
            <a:noFill/>
          </a:ln>
        </p:spPr>
      </p:pic>
      <p:sp>
        <p:nvSpPr>
          <p:cNvPr id="433" name="Google Shape;433;g79ce8b2f6a_0_51"/>
          <p:cNvSpPr txBox="1"/>
          <p:nvPr/>
        </p:nvSpPr>
        <p:spPr>
          <a:xfrm>
            <a:off x="3460900" y="1571125"/>
            <a:ext cx="8032049" cy="2031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CA" sz="2100" u="sng" dirty="0" err="1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គណៈកម្មា</a:t>
            </a:r>
            <a:r>
              <a:rPr lang="fr-CA" sz="2100" u="sng" dirty="0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​</a:t>
            </a:r>
            <a:r>
              <a:rPr lang="fr-CA" sz="2100" u="sng" dirty="0" err="1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ធិការ</a:t>
            </a:r>
            <a:r>
              <a:rPr lang="fr-CA" sz="2100" u="sng" dirty="0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​</a:t>
            </a:r>
            <a:r>
              <a:rPr lang="fr-CA" sz="2100" u="sng" dirty="0" err="1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ទីប្រឹក្សាស្ដីពីការអនុវត្ដន៍ចាក់ថ្នាំ</a:t>
            </a:r>
            <a:r>
              <a:rPr lang="fr-CA" sz="2100" u="sng" dirty="0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​</a:t>
            </a:r>
            <a:r>
              <a:rPr lang="fr-CA" sz="2100" u="sng" dirty="0" err="1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ការពាររោគ</a:t>
            </a:r>
            <a:r>
              <a:rPr lang="fr-CA" sz="2100" dirty="0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 </a:t>
            </a:r>
            <a:r>
              <a:rPr lang="fr-CA" sz="2100" dirty="0" err="1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របស</a:t>
            </a:r>
            <a:r>
              <a:rPr lang="fr-CA" sz="2100" dirty="0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់ </a:t>
            </a:r>
            <a:r>
              <a:rPr lang="fr-CA" sz="2400" dirty="0">
                <a:solidFill>
                  <a:schemeClr val="dk1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CDC </a:t>
            </a:r>
            <a:r>
              <a:rPr lang="fr-CA" sz="2100" dirty="0" err="1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ពិនិត្យមើលទិន្នន័យ</a:t>
            </a:r>
            <a:r>
              <a:rPr lang="fr-CA" sz="2100" dirty="0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 </a:t>
            </a:r>
            <a:r>
              <a:rPr lang="fr-CA" sz="2100" dirty="0" err="1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ដើម្បីមើលបើសិនវ៉ាក់សាំង</a:t>
            </a:r>
            <a:r>
              <a:rPr lang="fr-CA" sz="2100" dirty="0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 </a:t>
            </a:r>
            <a:r>
              <a:rPr lang="fr-CA" sz="2100" dirty="0" err="1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មានសុវត្ថិភាព</a:t>
            </a:r>
            <a:r>
              <a:rPr lang="fr-CA" sz="2100" dirty="0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 </a:t>
            </a:r>
            <a:r>
              <a:rPr lang="fr-CA" sz="2100" dirty="0" err="1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និងប្រសិទ្ធិភាព</a:t>
            </a:r>
            <a:r>
              <a:rPr lang="fr-CA" sz="2100" dirty="0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។ </a:t>
            </a:r>
            <a:r>
              <a:rPr lang="fr-CA" sz="2100" dirty="0" err="1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គេបានឲ្យឱវាទទៅ</a:t>
            </a:r>
            <a:r>
              <a:rPr lang="fr-CA" sz="2100" dirty="0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 </a:t>
            </a:r>
            <a:r>
              <a:rPr lang="fr-CA" sz="2100" dirty="0" err="1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នាយកដ្ឋានភោជនភណ្ឌ</a:t>
            </a:r>
            <a:r>
              <a:rPr lang="fr-CA" sz="2100" dirty="0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 </a:t>
            </a:r>
            <a:r>
              <a:rPr lang="fr-CA" sz="2100" dirty="0" err="1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និងឱសថូបករណ</a:t>
            </a:r>
            <a:r>
              <a:rPr lang="fr-CA" sz="2100" dirty="0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៍​</a:t>
            </a:r>
            <a:r>
              <a:rPr lang="fr-CA" sz="2100" dirty="0" err="1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សហរដ្ឋអាមេរិក</a:t>
            </a:r>
            <a:r>
              <a:rPr lang="fr-CA" sz="2100" dirty="0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 </a:t>
            </a:r>
            <a:r>
              <a:rPr lang="fr-CA" sz="2400" dirty="0">
                <a:solidFill>
                  <a:schemeClr val="dk1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(FDA)</a:t>
            </a:r>
            <a:r>
              <a:rPr lang="fr-CA" sz="2100" dirty="0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។</a:t>
            </a:r>
          </a:p>
        </p:txBody>
      </p:sp>
      <p:sp>
        <p:nvSpPr>
          <p:cNvPr id="434" name="Google Shape;434;g79ce8b2f6a_0_51"/>
          <p:cNvSpPr txBox="1"/>
          <p:nvPr/>
        </p:nvSpPr>
        <p:spPr>
          <a:xfrm>
            <a:off x="3460900" y="3537813"/>
            <a:ext cx="8150400" cy="1082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ts val="35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CA" sz="2400" dirty="0">
                <a:solidFill>
                  <a:schemeClr val="dk1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FDA</a:t>
            </a:r>
            <a:r>
              <a:rPr lang="fr-CA" sz="2100" dirty="0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 </a:t>
            </a:r>
            <a:r>
              <a:rPr lang="fr-CA" sz="2100" dirty="0" err="1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ពិនិត្យមើលទិន្នន័យ</a:t>
            </a:r>
            <a:r>
              <a:rPr lang="fr-CA" sz="2100" dirty="0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 </a:t>
            </a:r>
            <a:r>
              <a:rPr lang="fr-CA" sz="2100" dirty="0" err="1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និងឱវាទមកពីគណៈកម្មាធិការទីប្រឹក្សា</a:t>
            </a:r>
            <a:r>
              <a:rPr lang="fr-CA" sz="2100" dirty="0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 </a:t>
            </a:r>
            <a:r>
              <a:rPr lang="fr-CA" sz="2100" dirty="0" err="1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ដើម្បីសំរេចថាទទួលស្គាល់វ៉ាក់សាំង</a:t>
            </a:r>
            <a:r>
              <a:rPr lang="fr-CA" sz="2100" dirty="0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 </a:t>
            </a:r>
            <a:r>
              <a:rPr lang="fr-CA" sz="2100" dirty="0" err="1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ឬអត</a:t>
            </a:r>
            <a:r>
              <a:rPr lang="fr-CA" sz="2100" dirty="0">
                <a:solidFill>
                  <a:schemeClr val="dk1"/>
                </a:solidFill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់។</a:t>
            </a:r>
          </a:p>
        </p:txBody>
      </p:sp>
      <p:pic>
        <p:nvPicPr>
          <p:cNvPr id="435" name="Google Shape;435;g79ce8b2f6a_0_51" descr="Image of a piece of paper and magnifying glass"/>
          <p:cNvPicPr preferRelativeResize="0"/>
          <p:nvPr/>
        </p:nvPicPr>
        <p:blipFill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03187" y="1349123"/>
            <a:ext cx="1668700" cy="1644602"/>
          </a:xfrm>
          <a:prstGeom prst="rect">
            <a:avLst/>
          </a:prstGeom>
          <a:noFill/>
          <a:ln>
            <a:noFill/>
          </a:ln>
        </p:spPr>
      </p:pic>
      <p:pic>
        <p:nvPicPr>
          <p:cNvPr id="436" name="Google Shape;436;g79ce8b2f6a_0_51" descr="Number 4"/>
          <p:cNvPicPr preferRelativeResize="0"/>
          <p:nvPr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5025" y="1350250"/>
            <a:ext cx="615075" cy="560250"/>
          </a:xfrm>
          <a:prstGeom prst="rect">
            <a:avLst/>
          </a:prstGeom>
          <a:noFill/>
          <a:ln>
            <a:noFill/>
          </a:ln>
        </p:spPr>
      </p:pic>
      <p:pic>
        <p:nvPicPr>
          <p:cNvPr id="437" name="Google Shape;437;g79ce8b2f6a_0_51" descr="Number 5"/>
          <p:cNvPicPr preferRelativeResize="0"/>
          <p:nvPr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5025" y="3342331"/>
            <a:ext cx="615075" cy="546593"/>
          </a:xfrm>
          <a:prstGeom prst="rect">
            <a:avLst/>
          </a:prstGeom>
          <a:noFill/>
          <a:ln>
            <a:noFill/>
          </a:ln>
        </p:spPr>
      </p:pic>
      <p:sp>
        <p:nvSpPr>
          <p:cNvPr id="438" name="Google Shape;438;g79ce8b2f6a_0_51" descr="The vaccine is only approved after all of these steps are done and various teams of reviewers are sure that it works and is safe.&#10;"/>
          <p:cNvSpPr/>
          <p:nvPr/>
        </p:nvSpPr>
        <p:spPr>
          <a:xfrm>
            <a:off x="1625100" y="5093700"/>
            <a:ext cx="9308400" cy="1096500"/>
          </a:xfrm>
          <a:prstGeom prst="rect">
            <a:avLst/>
          </a:prstGeom>
          <a:solidFill>
            <a:srgbClr val="D7EAFC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CA" sz="2100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វ៉ាក់សាំងត្រូវបានទទួលស្គាល់ ដរាបតែបន្ទាប់ពីបានធ្វើ</a:t>
            </a:r>
            <a:r>
              <a:rPr lang="fr-CA" sz="2100" b="1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គ្រប់ជំហានទាំងអស់នេះ</a:t>
            </a:r>
            <a:r>
              <a:rPr lang="fr-CA" sz="2100">
                <a:latin typeface="Kh Content" panose="02000500000000020004" pitchFamily="2" charset="0"/>
                <a:ea typeface="Calibri"/>
                <a:cs typeface="Kh Content" panose="02000500000000020004" pitchFamily="2" charset="0"/>
                <a:sym typeface="Calibri"/>
              </a:rPr>
              <a:t>  និង           ក្រុមផ្សេងៗនៃអ្នកពិនិត្យឡើងវិញ ប្រាកដថាវាមានប្រសិទ្ធិភាព និងសុវត្ថិភាព។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1BA9E1A-725B-4EBC-9974-F1B9658FEA6C}"/>
              </a:ext>
            </a:extLst>
          </p:cNvPr>
          <p:cNvSpPr txBox="1"/>
          <p:nvPr/>
        </p:nvSpPr>
        <p:spPr>
          <a:xfrm>
            <a:off x="178625" y="234238"/>
            <a:ext cx="11314323" cy="46166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fr-CA" sz="3000">
                <a:latin typeface="Kh Content" panose="02000500000000020004" pitchFamily="2" charset="0"/>
                <a:cs typeface="Kh Content" panose="02000500000000020004" pitchFamily="2" charset="0"/>
              </a:rPr>
              <a:t>តើយើងដឹងបើសិនវ៉ាក់សាំង មានសុវត្ថិភាពដូចម្ដេច?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W.o98SoiFy91A3BEm45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b7IqASrXgBhCh1Cqos3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vOXtdSuox6Lt0s4FLA0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yNLusCFOya.iVh4ubix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XEhcesW0CHoBVP.RZvL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XEhcesW0CHoBVP.RZvL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q_lebdFlPrTXB9fMT4f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.jaZV2t50WPSHTUtWpl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P_.gIZGQPXw.fS0dZNc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diyB.KA1w5Zf6omJ8wP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mPCKC9nVYO1Uqs5KvPb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e3BZqfYDGOVAxJrfDmY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UTfoCa07OVAmOGtXHmm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HuO0.8Pky3Fso9DP9x8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Kh Content"/>
        <a:ea typeface=""/>
        <a:cs typeface=""/>
      </a:majorFont>
      <a:minorFont>
        <a:latin typeface="Kh Conten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Kh Content" panose="020F0302020204030204"/>
        <a:ea typeface=""/>
        <a:cs typeface=""/>
      </a:majorFont>
      <a:minorFont>
        <a:latin typeface="Kh Content" panose="020F0502020204030204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White">
  <a:themeElements>
    <a:clrScheme name="Scheme 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C2D83"/>
      </a:accent1>
      <a:accent2>
        <a:srgbClr val="7B9CED"/>
      </a:accent2>
      <a:accent3>
        <a:srgbClr val="1B56E9"/>
      </a:accent3>
      <a:accent4>
        <a:srgbClr val="DDA037"/>
      </a:accent4>
      <a:accent5>
        <a:srgbClr val="A1A3A5"/>
      </a:accent5>
      <a:accent6>
        <a:srgbClr val="CFCFCF"/>
      </a:accent6>
      <a:hlink>
        <a:srgbClr val="0000FF"/>
      </a:hlink>
      <a:folHlink>
        <a:srgbClr val="800080"/>
      </a:folHlink>
    </a:clrScheme>
    <a:fontScheme name="Custom 1">
      <a:majorFont>
        <a:latin typeface="Kh Content"/>
        <a:ea typeface=""/>
        <a:cs typeface=""/>
      </a:majorFont>
      <a:minorFont>
        <a:latin typeface="Kh Content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C2D83"/>
        </a:accent1>
        <a:accent2>
          <a:srgbClr val="7B9CED"/>
        </a:accent2>
        <a:accent3>
          <a:srgbClr val="1B56E9"/>
        </a:accent3>
        <a:accent4>
          <a:srgbClr val="DDA037"/>
        </a:accent4>
        <a:accent5>
          <a:srgbClr val="A1A3A5"/>
        </a:accent5>
        <a:accent6>
          <a:srgbClr val="CFCFCF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US0734_OFF.potx" id="{B99654CB-F1B9-41E3-A169-339811ED5F54}" vid="{F40D82E9-5348-40C5-82A2-1CB421C2615D}"/>
    </a:ext>
  </a:extLst>
</a:theme>
</file>

<file path=ppt/theme/theme4.xml><?xml version="1.0" encoding="utf-8"?>
<a:theme xmlns:a="http://schemas.openxmlformats.org/drawingml/2006/main" name="Theme-Covid-Vax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Kh Content" panose="020F0302020204030204"/>
        <a:ea typeface=""/>
        <a:cs typeface=""/>
      </a:majorFont>
      <a:minorFont>
        <a:latin typeface="Kh Content" panose="020F0502020204030204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-Covid-Vax" id="{A4F9C436-5CE2-42E5-9FB9-7895596584E5}" vid="{208FF17F-C249-4E4A-9551-A4B6FB3AA3A8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Kh Content"/>
        <a:ea typeface=""/>
        <a:cs typeface=""/>
      </a:majorFont>
      <a:minorFont>
        <a:latin typeface="Kh Conten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Kh Content"/>
        <a:ea typeface=""/>
        <a:cs typeface=""/>
      </a:majorFont>
      <a:minorFont>
        <a:latin typeface="Kh Conten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7005</TotalTime>
  <Words>10021</Words>
  <Application>Microsoft Office PowerPoint</Application>
  <PresentationFormat>Widescreen</PresentationFormat>
  <Paragraphs>484</Paragraphs>
  <Slides>36</Slides>
  <Notes>3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48" baseType="lpstr">
      <vt:lpstr>Courier New</vt:lpstr>
      <vt:lpstr>Calibri</vt:lpstr>
      <vt:lpstr>Segoe UI</vt:lpstr>
      <vt:lpstr>Arial</vt:lpstr>
      <vt:lpstr>Wingdings</vt:lpstr>
      <vt:lpstr>Symbol</vt:lpstr>
      <vt:lpstr>Kh Content</vt:lpstr>
      <vt:lpstr>Office Theme</vt:lpstr>
      <vt:lpstr>1_Office Theme</vt:lpstr>
      <vt:lpstr>White</vt:lpstr>
      <vt:lpstr>Theme-Covid-Vax</vt:lpstr>
      <vt:lpstr>think-cell Slide</vt:lpstr>
      <vt:lpstr>PowerPoint Presentation</vt:lpstr>
      <vt:lpstr>សេចក្ដីណែនាំ សំរាប់ការប្រើមគ្គុទ្ទេសក៍នេះ </vt:lpstr>
      <vt:lpstr>របៀបស្នើសុំទូត វ៉ាក់សាំង DPH</vt:lpstr>
      <vt:lpstr>ការទទួលស្គាល់ នូវរចនាសម្ព័ន្ធការប្រកាន់ជាតិសាសន៍ ការរើសអើង   និងទំរង់ផ្សេងទៀតនៃការជិះជាន់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តើខ្ញុំធ្វើការណាត់ជួបដូចម្ដេច?</vt:lpstr>
      <vt:lpstr>ចុះបើសិនខ្ញុំត្រូវការជំនួយ ក្នុងការទៅកន្លែងចាក់វ៉ាក់សាំង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ធនធានបន្ថែម សំរាប់អ្នករៀបចំវេទិកា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etler, Katie (DPH)</dc:creator>
  <cp:lastModifiedBy>Leo Galperin</cp:lastModifiedBy>
  <cp:revision>887</cp:revision>
  <cp:lastPrinted>2021-05-14T12:38:33Z</cp:lastPrinted>
  <dcterms:created xsi:type="dcterms:W3CDTF">2021-01-16T16:40:21Z</dcterms:created>
  <dcterms:modified xsi:type="dcterms:W3CDTF">2022-01-28T20:28:07Z</dcterms:modified>
</cp:coreProperties>
</file>